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diagrams/colors12.xml" ContentType="application/vnd.openxmlformats-officedocument.drawingml.diagramColor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layout14.xml" ContentType="application/vnd.openxmlformats-officedocument.drawingml.diagramLayou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diagrams/quickStyle15.xml" ContentType="application/vnd.openxmlformats-officedocument.drawingml.diagramStyl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5.xml" ContentType="application/vnd.openxmlformats-officedocument.drawingml.diagramLayout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Default Extension="sldx" ContentType="application/vnd.openxmlformats-officedocument.presentationml.slide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colors10.xml" ContentType="application/vnd.openxmlformats-officedocument.drawingml.diagramColors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8" r:id="rId2"/>
  </p:sldMasterIdLst>
  <p:notesMasterIdLst>
    <p:notesMasterId r:id="rId44"/>
  </p:notesMasterIdLst>
  <p:handoutMasterIdLst>
    <p:handoutMasterId r:id="rId45"/>
  </p:handoutMasterIdLst>
  <p:sldIdLst>
    <p:sldId id="296" r:id="rId3"/>
    <p:sldId id="424" r:id="rId4"/>
    <p:sldId id="438" r:id="rId5"/>
    <p:sldId id="439" r:id="rId6"/>
    <p:sldId id="440" r:id="rId7"/>
    <p:sldId id="442" r:id="rId8"/>
    <p:sldId id="441" r:id="rId9"/>
    <p:sldId id="443" r:id="rId10"/>
    <p:sldId id="444" r:id="rId11"/>
    <p:sldId id="446" r:id="rId12"/>
    <p:sldId id="447" r:id="rId13"/>
    <p:sldId id="448" r:id="rId14"/>
    <p:sldId id="479" r:id="rId15"/>
    <p:sldId id="477" r:id="rId16"/>
    <p:sldId id="456" r:id="rId17"/>
    <p:sldId id="469" r:id="rId18"/>
    <p:sldId id="457" r:id="rId19"/>
    <p:sldId id="450" r:id="rId20"/>
    <p:sldId id="470" r:id="rId21"/>
    <p:sldId id="471" r:id="rId22"/>
    <p:sldId id="473" r:id="rId23"/>
    <p:sldId id="451" r:id="rId24"/>
    <p:sldId id="458" r:id="rId25"/>
    <p:sldId id="459" r:id="rId26"/>
    <p:sldId id="460" r:id="rId27"/>
    <p:sldId id="452" r:id="rId28"/>
    <p:sldId id="478" r:id="rId29"/>
    <p:sldId id="461" r:id="rId30"/>
    <p:sldId id="462" r:id="rId31"/>
    <p:sldId id="463" r:id="rId32"/>
    <p:sldId id="464" r:id="rId33"/>
    <p:sldId id="453" r:id="rId34"/>
    <p:sldId id="475" r:id="rId35"/>
    <p:sldId id="474" r:id="rId36"/>
    <p:sldId id="476" r:id="rId37"/>
    <p:sldId id="454" r:id="rId38"/>
    <p:sldId id="467" r:id="rId39"/>
    <p:sldId id="480" r:id="rId40"/>
    <p:sldId id="465" r:id="rId41"/>
    <p:sldId id="466" r:id="rId42"/>
    <p:sldId id="455" r:id="rId43"/>
  </p:sldIdLst>
  <p:sldSz cx="9144000" cy="6858000" type="screen4x3"/>
  <p:notesSz cx="6797675" cy="9926638"/>
  <p:custDataLst>
    <p:tags r:id="rId46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41B09"/>
    <a:srgbClr val="F78909"/>
    <a:srgbClr val="FCCBCE"/>
    <a:srgbClr val="FA7D7D"/>
    <a:srgbClr val="E4523B"/>
    <a:srgbClr val="FAA879"/>
    <a:srgbClr val="481B04"/>
    <a:srgbClr val="4A280C"/>
    <a:srgbClr val="F75A22"/>
    <a:srgbClr val="8000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3348" autoAdjust="0"/>
    <p:restoredTop sz="99600" autoAdjust="0"/>
  </p:normalViewPr>
  <p:slideViewPr>
    <p:cSldViewPr snapToGrid="0">
      <p:cViewPr varScale="1">
        <p:scale>
          <a:sx n="88" d="100"/>
          <a:sy n="88" d="100"/>
        </p:scale>
        <p:origin x="-1373" y="-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274" y="-101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smtClean="0"/>
            <a:t>Rapport moral du Président : </a:t>
          </a:r>
          <a:endParaRPr lang="fr-FR" sz="1800" dirty="0" smtClean="0"/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smtClean="0"/>
            <a:t>Élections au Conseil d’Administration </a:t>
          </a:r>
          <a:endParaRPr lang="fr-FR" dirty="0" smtClean="0"/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smtClean="0"/>
            <a:t>Pot de l'amitié</a:t>
          </a:r>
          <a:endParaRPr lang="fr-FR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8644B2E4-3C96-4AEB-82F9-B0FA0A10374A}" type="presOf" srcId="{445F633E-575C-4AF5-92DD-A71CC7C927A2}" destId="{08F89A7F-2AF5-4371-8B52-FA6479DF35C0}" srcOrd="0" destOrd="0" presId="urn:microsoft.com/office/officeart/2008/layout/VerticalCurvedList"/>
    <dgm:cxn modelId="{2ADDFDA5-B84A-4C31-9827-0DC88F4E95F6}" type="presOf" srcId="{699445AF-5A04-47F7-878E-3F17D893EA9D}" destId="{7CCCBC3E-A548-477F-AB4A-CF7F4D57704E}" srcOrd="0" destOrd="0" presId="urn:microsoft.com/office/officeart/2008/layout/VerticalCurvedList"/>
    <dgm:cxn modelId="{913ECBF0-E4B7-40FB-BFE3-7839F75FDB51}" type="presOf" srcId="{B9A48CF8-D428-45D1-8969-FBBF15BE7DBA}" destId="{B33E6E9D-CEE0-4253-A8E7-0BD98EFB662C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51F59A6D-9163-40FC-A1B1-60672278ACA0}" type="presOf" srcId="{2950704D-F612-46DF-93DB-38562274CE0A}" destId="{CD0934E8-FFC7-4C4F-89BE-AC8E748C473B}" srcOrd="0" destOrd="0" presId="urn:microsoft.com/office/officeart/2008/layout/VerticalCurvedList"/>
    <dgm:cxn modelId="{06F7680A-4FCC-4C16-9693-9E21A1AC13D2}" type="presOf" srcId="{EDB31ED3-0E8F-4401-8F1C-3B18C9A8633A}" destId="{8126DCD3-7CB9-48CE-9320-BD9FFB148001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475F34E5-A67B-4970-BF45-971C28313AB9}" type="presOf" srcId="{E81A0284-562D-4965-817B-B98B89BD7A12}" destId="{FB08870E-FF0D-4C93-98E3-73F93153C9AC}" srcOrd="0" destOrd="0" presId="urn:microsoft.com/office/officeart/2008/layout/VerticalCurvedList"/>
    <dgm:cxn modelId="{75366078-07D5-408C-B8F0-C452927E190E}" type="presOf" srcId="{F562CD0B-E8EB-4DBC-82FD-4F9ECF32E366}" destId="{6940BDDF-1FEF-41BF-B9E9-0FFE3926A970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5F72EE4A-3D76-4391-BD18-28BA9D577F98}" type="presParOf" srcId="{43AFC4E7-46DA-4B7B-B201-0A406A05CAD2}" destId="{B33E6E9D-CEE0-4253-A8E7-0BD98EFB662C}" srcOrd="3" destOrd="0" presId="urn:microsoft.com/office/officeart/2008/layout/VerticalCurvedList"/>
    <dgm:cxn modelId="{4C47E8B4-F780-4E14-9BE2-7D4793360DF0}" type="presParOf" srcId="{43AFC4E7-46DA-4B7B-B201-0A406A05CAD2}" destId="{0C3100F7-B06F-4D61-8952-72DDA3F196CC}" srcOrd="4" destOrd="0" presId="urn:microsoft.com/office/officeart/2008/layout/VerticalCurvedList"/>
    <dgm:cxn modelId="{491F135E-16C5-4F4B-B4C3-16B21AFFF561}" type="presParOf" srcId="{0C3100F7-B06F-4D61-8952-72DDA3F196CC}" destId="{7A113706-4115-4E46-A0DB-BB2E4C947383}" srcOrd="0" destOrd="0" presId="urn:microsoft.com/office/officeart/2008/layout/VerticalCurvedList"/>
    <dgm:cxn modelId="{E5D6663B-8155-402B-836A-2C9A6F35050A}" type="presParOf" srcId="{43AFC4E7-46DA-4B7B-B201-0A406A05CAD2}" destId="{CD0934E8-FFC7-4C4F-89BE-AC8E748C473B}" srcOrd="5" destOrd="0" presId="urn:microsoft.com/office/officeart/2008/layout/VerticalCurvedList"/>
    <dgm:cxn modelId="{FDBE6DC3-C81A-4E8B-9E87-6561CF01CB48}" type="presParOf" srcId="{43AFC4E7-46DA-4B7B-B201-0A406A05CAD2}" destId="{E9561BC4-D00A-48CE-8C8A-EEF31BA7E3DC}" srcOrd="6" destOrd="0" presId="urn:microsoft.com/office/officeart/2008/layout/VerticalCurvedList"/>
    <dgm:cxn modelId="{156323A8-418B-45A5-82CA-01BA2707F5A1}" type="presParOf" srcId="{E9561BC4-D00A-48CE-8C8A-EEF31BA7E3DC}" destId="{0692BF8D-B063-4580-8A2D-225A14481CCD}" srcOrd="0" destOrd="0" presId="urn:microsoft.com/office/officeart/2008/layout/VerticalCurvedList"/>
    <dgm:cxn modelId="{CE05E7DE-8E7E-4480-9A5F-54D801780BC8}" type="presParOf" srcId="{43AFC4E7-46DA-4B7B-B201-0A406A05CAD2}" destId="{7CCCBC3E-A548-477F-AB4A-CF7F4D57704E}" srcOrd="7" destOrd="0" presId="urn:microsoft.com/office/officeart/2008/layout/VerticalCurvedList"/>
    <dgm:cxn modelId="{297121B0-6408-49C6-B56C-4D99A063CDF2}" type="presParOf" srcId="{43AFC4E7-46DA-4B7B-B201-0A406A05CAD2}" destId="{52AAC49D-EBED-4268-8D76-691EE33A579D}" srcOrd="8" destOrd="0" presId="urn:microsoft.com/office/officeart/2008/layout/VerticalCurvedList"/>
    <dgm:cxn modelId="{E9A616AD-B3D2-45AD-9DFA-3B5B9FAC6D25}" type="presParOf" srcId="{52AAC49D-EBED-4268-8D76-691EE33A579D}" destId="{153D8280-B34C-4997-89AD-DE892539C6A1}" srcOrd="0" destOrd="0" presId="urn:microsoft.com/office/officeart/2008/layout/VerticalCurvedList"/>
    <dgm:cxn modelId="{DEE0E5DB-C8DE-402A-A223-B0B15BCB6F38}" type="presParOf" srcId="{43AFC4E7-46DA-4B7B-B201-0A406A05CAD2}" destId="{08F89A7F-2AF5-4371-8B52-FA6479DF35C0}" srcOrd="9" destOrd="0" presId="urn:microsoft.com/office/officeart/2008/layout/VerticalCurvedList"/>
    <dgm:cxn modelId="{9309AAD9-91C8-4E43-986B-E68A0D87BE21}" type="presParOf" srcId="{43AFC4E7-46DA-4B7B-B201-0A406A05CAD2}" destId="{F13EF3DA-EB59-4531-832A-CE6769FB357E}" srcOrd="10" destOrd="0" presId="urn:microsoft.com/office/officeart/2008/layout/VerticalCurvedList"/>
    <dgm:cxn modelId="{C912EA9E-AA76-48D5-8B24-EB1BB2951918}" type="presParOf" srcId="{F13EF3DA-EB59-4531-832A-CE6769FB357E}" destId="{1CAC461D-769E-43F1-85D8-A86E37EE9368}" srcOrd="0" destOrd="0" presId="urn:microsoft.com/office/officeart/2008/layout/VerticalCurvedList"/>
    <dgm:cxn modelId="{5E88CC1D-6B85-4667-9E7C-35FE3A302F39}" type="presParOf" srcId="{43AFC4E7-46DA-4B7B-B201-0A406A05CAD2}" destId="{8126DCD3-7CB9-48CE-9320-BD9FFB148001}" srcOrd="11" destOrd="0" presId="urn:microsoft.com/office/officeart/2008/layout/VerticalCurvedList"/>
    <dgm:cxn modelId="{DBE4FD7B-180C-4C79-A29F-05B1FC2E9390}" type="presParOf" srcId="{43AFC4E7-46DA-4B7B-B201-0A406A05CAD2}" destId="{547E224F-A6EA-4836-A3FF-8F1216A753A0}" srcOrd="12" destOrd="0" presId="urn:microsoft.com/office/officeart/2008/layout/VerticalCurvedList"/>
    <dgm:cxn modelId="{90034E52-EE81-4583-A62B-650577891B3C}" type="presParOf" srcId="{547E224F-A6EA-4836-A3FF-8F1216A753A0}" destId="{8C00D473-19AF-4CDA-AA78-6937BED59218}" srcOrd="0" destOrd="0" presId="urn:microsoft.com/office/officeart/2008/layout/VerticalCurvedList"/>
    <dgm:cxn modelId="{83909D3B-D88C-4106-B5F1-83B1DB25959E}" type="presParOf" srcId="{43AFC4E7-46DA-4B7B-B201-0A406A05CAD2}" destId="{FB08870E-FF0D-4C93-98E3-73F93153C9AC}" srcOrd="13" destOrd="0" presId="urn:microsoft.com/office/officeart/2008/layout/VerticalCurvedList"/>
    <dgm:cxn modelId="{60E2AE8E-10D3-4DCE-8C31-1EE7FFDB0923}" type="presParOf" srcId="{43AFC4E7-46DA-4B7B-B201-0A406A05CAD2}" destId="{EEE5F45C-B2C8-41B8-BDE7-E14146B6438C}" srcOrd="14" destOrd="0" presId="urn:microsoft.com/office/officeart/2008/layout/VerticalCurvedList"/>
    <dgm:cxn modelId="{AE6C6D3F-4B9C-4C2A-BF30-7658D6AD7394}" type="presParOf" srcId="{EEE5F45C-B2C8-41B8-BDE7-E14146B6438C}" destId="{E3F2224B-B766-4EE7-96DD-292C5A03119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409340A-59BE-41B1-8B71-BCE6E6314049}" type="doc">
      <dgm:prSet loTypeId="urn:microsoft.com/office/officeart/2005/8/layout/target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D72F27C1-F729-4B2F-AEE1-F7383903EB35}">
      <dgm:prSet phldrT="[Texte]"/>
      <dgm:spPr/>
      <dgm:t>
        <a:bodyPr/>
        <a:lstStyle/>
        <a:p>
          <a:r>
            <a:rPr lang="fr-FR" dirty="0" smtClean="0"/>
            <a:t>D’un point de vue global</a:t>
          </a:r>
          <a:endParaRPr lang="fr-FR" dirty="0"/>
        </a:p>
      </dgm:t>
    </dgm:pt>
    <dgm:pt modelId="{D199444C-D923-4773-8840-9F57C4B5FCE5}" type="parTrans" cxnId="{F30C5AE6-DB5C-4A7E-A0A1-D8BCBFC514C8}">
      <dgm:prSet/>
      <dgm:spPr/>
      <dgm:t>
        <a:bodyPr/>
        <a:lstStyle/>
        <a:p>
          <a:endParaRPr lang="fr-FR"/>
        </a:p>
      </dgm:t>
    </dgm:pt>
    <dgm:pt modelId="{D7FB9569-94ED-4327-B47E-DF532A04AC03}" type="sibTrans" cxnId="{F30C5AE6-DB5C-4A7E-A0A1-D8BCBFC514C8}">
      <dgm:prSet/>
      <dgm:spPr/>
      <dgm:t>
        <a:bodyPr/>
        <a:lstStyle/>
        <a:p>
          <a:endParaRPr lang="fr-FR"/>
        </a:p>
      </dgm:t>
    </dgm:pt>
    <dgm:pt modelId="{FA5EEE09-B3DC-4D0D-B00C-3A9BFFB1367D}">
      <dgm:prSet phldrT="[Texte]"/>
      <dgm:spPr/>
      <dgm:t>
        <a:bodyPr/>
        <a:lstStyle/>
        <a:p>
          <a:r>
            <a:rPr lang="fr-FR" dirty="0" smtClean="0"/>
            <a:t>Développer la Communication (site et FB …)</a:t>
          </a:r>
          <a:endParaRPr lang="fr-FR" dirty="0"/>
        </a:p>
      </dgm:t>
    </dgm:pt>
    <dgm:pt modelId="{69F644E2-DBB5-4355-BAA5-AC651AF9D7AF}" type="parTrans" cxnId="{B46FBF70-7FD7-4624-AAF0-6DFB61BA0966}">
      <dgm:prSet/>
      <dgm:spPr/>
      <dgm:t>
        <a:bodyPr/>
        <a:lstStyle/>
        <a:p>
          <a:endParaRPr lang="fr-FR"/>
        </a:p>
      </dgm:t>
    </dgm:pt>
    <dgm:pt modelId="{8A2126AA-0208-4A00-8858-DB1D53510DEE}" type="sibTrans" cxnId="{B46FBF70-7FD7-4624-AAF0-6DFB61BA0966}">
      <dgm:prSet/>
      <dgm:spPr/>
      <dgm:t>
        <a:bodyPr/>
        <a:lstStyle/>
        <a:p>
          <a:endParaRPr lang="fr-FR"/>
        </a:p>
      </dgm:t>
    </dgm:pt>
    <dgm:pt modelId="{3CBF9FBE-4EED-4B1F-BDC5-996D2BB1E23E}">
      <dgm:prSet phldrT="[Texte]"/>
      <dgm:spPr/>
      <dgm:t>
        <a:bodyPr/>
        <a:lstStyle/>
        <a:p>
          <a:r>
            <a:rPr lang="fr-FR" dirty="0" smtClean="0"/>
            <a:t>Badminton</a:t>
          </a:r>
          <a:endParaRPr lang="fr-FR" dirty="0"/>
        </a:p>
      </dgm:t>
    </dgm:pt>
    <dgm:pt modelId="{F51A1C40-7DEF-469C-AF37-C287992B1DAE}" type="parTrans" cxnId="{E2A2205D-03D1-4B37-BC01-6DE1878090D3}">
      <dgm:prSet/>
      <dgm:spPr/>
      <dgm:t>
        <a:bodyPr/>
        <a:lstStyle/>
        <a:p>
          <a:endParaRPr lang="fr-FR"/>
        </a:p>
      </dgm:t>
    </dgm:pt>
    <dgm:pt modelId="{7CCE09A0-5EAD-4658-A062-253C210D8D1F}" type="sibTrans" cxnId="{E2A2205D-03D1-4B37-BC01-6DE1878090D3}">
      <dgm:prSet/>
      <dgm:spPr/>
      <dgm:t>
        <a:bodyPr/>
        <a:lstStyle/>
        <a:p>
          <a:endParaRPr lang="fr-FR"/>
        </a:p>
      </dgm:t>
    </dgm:pt>
    <dgm:pt modelId="{279A0022-C5B0-422D-83AE-49763E3E8A8B}">
      <dgm:prSet phldrT="[Texte]"/>
      <dgm:spPr/>
      <dgm:t>
        <a:bodyPr/>
        <a:lstStyle/>
        <a:p>
          <a:r>
            <a:rPr lang="fr-FR" dirty="0" smtClean="0"/>
            <a:t>Pratique pour Tous avec des offres adaptées</a:t>
          </a:r>
          <a:endParaRPr lang="fr-FR" dirty="0"/>
        </a:p>
      </dgm:t>
    </dgm:pt>
    <dgm:pt modelId="{EB4E4147-1C39-42D5-BE4A-A074C825CA2F}" type="parTrans" cxnId="{2DBCC7D0-1292-440F-BB5F-9D6B32CF1338}">
      <dgm:prSet/>
      <dgm:spPr/>
      <dgm:t>
        <a:bodyPr/>
        <a:lstStyle/>
        <a:p>
          <a:endParaRPr lang="fr-FR"/>
        </a:p>
      </dgm:t>
    </dgm:pt>
    <dgm:pt modelId="{24EA8BB2-5F3E-418E-B599-3A3407B9D478}" type="sibTrans" cxnId="{2DBCC7D0-1292-440F-BB5F-9D6B32CF1338}">
      <dgm:prSet/>
      <dgm:spPr/>
      <dgm:t>
        <a:bodyPr/>
        <a:lstStyle/>
        <a:p>
          <a:endParaRPr lang="fr-FR"/>
        </a:p>
      </dgm:t>
    </dgm:pt>
    <dgm:pt modelId="{52A10404-D2B9-4223-8B08-C7BD10818313}">
      <dgm:prSet phldrT="[Texte]"/>
      <dgm:spPr/>
      <dgm:t>
        <a:bodyPr/>
        <a:lstStyle/>
        <a:p>
          <a:r>
            <a:rPr lang="fr-FR" dirty="0" smtClean="0"/>
            <a:t>Effort sur les JEUNES</a:t>
          </a:r>
          <a:endParaRPr lang="fr-FR" dirty="0"/>
        </a:p>
      </dgm:t>
    </dgm:pt>
    <dgm:pt modelId="{AA16A5AF-1FB3-4C73-AD92-EF327E102816}" type="parTrans" cxnId="{6EA64657-5C9F-4FCC-B9E8-05A09955CC62}">
      <dgm:prSet/>
      <dgm:spPr/>
      <dgm:t>
        <a:bodyPr/>
        <a:lstStyle/>
        <a:p>
          <a:endParaRPr lang="fr-FR"/>
        </a:p>
      </dgm:t>
    </dgm:pt>
    <dgm:pt modelId="{448EEE9C-0DEA-4ED9-9F1D-EF2FB5E22A16}" type="sibTrans" cxnId="{6EA64657-5C9F-4FCC-B9E8-05A09955CC62}">
      <dgm:prSet/>
      <dgm:spPr/>
      <dgm:t>
        <a:bodyPr/>
        <a:lstStyle/>
        <a:p>
          <a:endParaRPr lang="fr-FR"/>
        </a:p>
      </dgm:t>
    </dgm:pt>
    <dgm:pt modelId="{47AE7794-A1B3-4599-BFCE-0F6F5F6EB0C7}">
      <dgm:prSet phldrT="[Texte]"/>
      <dgm:spPr/>
      <dgm:t>
        <a:bodyPr/>
        <a:lstStyle/>
        <a:p>
          <a:r>
            <a:rPr lang="fr-FR" dirty="0" smtClean="0"/>
            <a:t>GYMNASTIQUE MASCULINE</a:t>
          </a:r>
          <a:endParaRPr lang="fr-FR" dirty="0"/>
        </a:p>
      </dgm:t>
    </dgm:pt>
    <dgm:pt modelId="{69D22791-2447-4D4C-B616-90BA29756409}" type="parTrans" cxnId="{4D67F30F-C201-48F5-B0FB-63DA126892CF}">
      <dgm:prSet/>
      <dgm:spPr/>
      <dgm:t>
        <a:bodyPr/>
        <a:lstStyle/>
        <a:p>
          <a:endParaRPr lang="fr-FR"/>
        </a:p>
      </dgm:t>
    </dgm:pt>
    <dgm:pt modelId="{7DB2AF67-F713-4F47-AB29-29435CDA88C3}" type="sibTrans" cxnId="{4D67F30F-C201-48F5-B0FB-63DA126892CF}">
      <dgm:prSet/>
      <dgm:spPr/>
      <dgm:t>
        <a:bodyPr/>
        <a:lstStyle/>
        <a:p>
          <a:endParaRPr lang="fr-FR"/>
        </a:p>
      </dgm:t>
    </dgm:pt>
    <dgm:pt modelId="{EACD6707-6906-4913-AEEA-C2B1FF7ADAC9}">
      <dgm:prSet phldrT="[Texte]"/>
      <dgm:spPr/>
      <dgm:t>
        <a:bodyPr/>
        <a:lstStyle/>
        <a:p>
          <a:r>
            <a:rPr lang="fr-FR" dirty="0" smtClean="0"/>
            <a:t>Exister, être véritablement reconnu et pouvoir pratiquer</a:t>
          </a:r>
          <a:endParaRPr lang="fr-FR" dirty="0"/>
        </a:p>
      </dgm:t>
    </dgm:pt>
    <dgm:pt modelId="{A6DF86F8-5BCF-498B-9A71-CEAD030F37F8}" type="parTrans" cxnId="{F29AAC0E-1981-4DF5-BBD6-9D30E6689ABB}">
      <dgm:prSet/>
      <dgm:spPr/>
      <dgm:t>
        <a:bodyPr/>
        <a:lstStyle/>
        <a:p>
          <a:endParaRPr lang="fr-FR"/>
        </a:p>
      </dgm:t>
    </dgm:pt>
    <dgm:pt modelId="{534A5743-C441-4480-AF14-BA4A0ED54896}" type="sibTrans" cxnId="{F29AAC0E-1981-4DF5-BBD6-9D30E6689ABB}">
      <dgm:prSet/>
      <dgm:spPr/>
      <dgm:t>
        <a:bodyPr/>
        <a:lstStyle/>
        <a:p>
          <a:endParaRPr lang="fr-FR"/>
        </a:p>
      </dgm:t>
    </dgm:pt>
    <dgm:pt modelId="{32CC97D2-8F9C-4E70-951D-76719691AAD5}">
      <dgm:prSet phldrT="[Texte]"/>
      <dgm:spPr/>
      <dgm:t>
        <a:bodyPr/>
        <a:lstStyle/>
        <a:p>
          <a:r>
            <a:rPr lang="fr-FR" dirty="0" smtClean="0"/>
            <a:t>Ouvrir une section Mini GYM en septembre 2017 (3-5 ans)</a:t>
          </a:r>
          <a:endParaRPr lang="fr-FR" dirty="0"/>
        </a:p>
      </dgm:t>
    </dgm:pt>
    <dgm:pt modelId="{EB4F8696-2AD7-4B76-BD06-5135CCE706C2}" type="parTrans" cxnId="{FE6252F5-7B49-482D-98A8-22E0300DF462}">
      <dgm:prSet/>
      <dgm:spPr/>
      <dgm:t>
        <a:bodyPr/>
        <a:lstStyle/>
        <a:p>
          <a:endParaRPr lang="fr-FR"/>
        </a:p>
      </dgm:t>
    </dgm:pt>
    <dgm:pt modelId="{8742E588-B6F0-49F7-B7F4-9BF151033281}" type="sibTrans" cxnId="{FE6252F5-7B49-482D-98A8-22E0300DF462}">
      <dgm:prSet/>
      <dgm:spPr/>
      <dgm:t>
        <a:bodyPr/>
        <a:lstStyle/>
        <a:p>
          <a:endParaRPr lang="fr-FR"/>
        </a:p>
      </dgm:t>
    </dgm:pt>
    <dgm:pt modelId="{05D66023-CD63-43D2-BEB7-2FA5578B8B1B}">
      <dgm:prSet phldrT="[Texte]"/>
      <dgm:spPr/>
      <dgm:t>
        <a:bodyPr/>
        <a:lstStyle/>
        <a:p>
          <a:r>
            <a:rPr lang="fr-FR" dirty="0" smtClean="0"/>
            <a:t>Mobiliser les adhérents et les parents</a:t>
          </a:r>
          <a:endParaRPr lang="fr-FR" dirty="0"/>
        </a:p>
      </dgm:t>
    </dgm:pt>
    <dgm:pt modelId="{B3E40F00-E40E-4550-B3C0-03C4DC5325BA}" type="parTrans" cxnId="{B1938B07-6FE4-474E-937A-7F70B03355E4}">
      <dgm:prSet/>
      <dgm:spPr/>
      <dgm:t>
        <a:bodyPr/>
        <a:lstStyle/>
        <a:p>
          <a:endParaRPr lang="fr-FR"/>
        </a:p>
      </dgm:t>
    </dgm:pt>
    <dgm:pt modelId="{69F7F9AA-D610-415B-8734-68D35ECC1223}" type="sibTrans" cxnId="{B1938B07-6FE4-474E-937A-7F70B03355E4}">
      <dgm:prSet/>
      <dgm:spPr/>
      <dgm:t>
        <a:bodyPr/>
        <a:lstStyle/>
        <a:p>
          <a:endParaRPr lang="fr-FR"/>
        </a:p>
      </dgm:t>
    </dgm:pt>
    <dgm:pt modelId="{21ADF142-6AAA-4A15-9F3F-8A459CBFB61F}">
      <dgm:prSet phldrT="[Texte]"/>
      <dgm:spPr/>
      <dgm:t>
        <a:bodyPr/>
        <a:lstStyle/>
        <a:p>
          <a:r>
            <a:rPr lang="fr-FR" dirty="0" smtClean="0"/>
            <a:t>Gestion structurée </a:t>
          </a:r>
          <a:endParaRPr lang="fr-FR" dirty="0"/>
        </a:p>
      </dgm:t>
    </dgm:pt>
    <dgm:pt modelId="{E23E067E-94C9-4A57-8136-7F224F6254D2}" type="parTrans" cxnId="{A31D86E3-7241-4324-8C77-76A48B777563}">
      <dgm:prSet/>
      <dgm:spPr/>
      <dgm:t>
        <a:bodyPr/>
        <a:lstStyle/>
        <a:p>
          <a:endParaRPr lang="fr-FR"/>
        </a:p>
      </dgm:t>
    </dgm:pt>
    <dgm:pt modelId="{5CBEB838-5C22-445B-9BE4-BDF78ADC3202}" type="sibTrans" cxnId="{A31D86E3-7241-4324-8C77-76A48B777563}">
      <dgm:prSet/>
      <dgm:spPr/>
      <dgm:t>
        <a:bodyPr/>
        <a:lstStyle/>
        <a:p>
          <a:endParaRPr lang="fr-FR"/>
        </a:p>
      </dgm:t>
    </dgm:pt>
    <dgm:pt modelId="{B5BCCE42-8E33-415C-A458-ECC5907C2FEA}">
      <dgm:prSet phldrT="[Texte]"/>
      <dgm:spPr/>
      <dgm:t>
        <a:bodyPr/>
        <a:lstStyle/>
        <a:p>
          <a:r>
            <a:rPr lang="fr-FR" dirty="0" smtClean="0"/>
            <a:t>Développer la compétition</a:t>
          </a:r>
          <a:endParaRPr lang="fr-FR" dirty="0"/>
        </a:p>
      </dgm:t>
    </dgm:pt>
    <dgm:pt modelId="{8401984B-8E2B-4A60-BF2D-61DCAD3F8D96}" type="parTrans" cxnId="{F14CDC10-109B-48B4-B084-769165F44211}">
      <dgm:prSet/>
      <dgm:spPr/>
      <dgm:t>
        <a:bodyPr/>
        <a:lstStyle/>
        <a:p>
          <a:endParaRPr lang="fr-FR"/>
        </a:p>
      </dgm:t>
    </dgm:pt>
    <dgm:pt modelId="{E78E17EA-D81F-4D7C-898A-15384409DF25}" type="sibTrans" cxnId="{F14CDC10-109B-48B4-B084-769165F44211}">
      <dgm:prSet/>
      <dgm:spPr/>
      <dgm:t>
        <a:bodyPr/>
        <a:lstStyle/>
        <a:p>
          <a:endParaRPr lang="fr-FR"/>
        </a:p>
      </dgm:t>
    </dgm:pt>
    <dgm:pt modelId="{B568F9B5-A7D4-40DD-89D6-5D0111121D37}">
      <dgm:prSet phldrT="[Texte]"/>
      <dgm:spPr/>
      <dgm:t>
        <a:bodyPr/>
        <a:lstStyle/>
        <a:p>
          <a:r>
            <a:rPr lang="fr-FR" dirty="0" smtClean="0"/>
            <a:t>Bonne ambiance et plaisir de pratiquer</a:t>
          </a:r>
          <a:endParaRPr lang="fr-FR" dirty="0"/>
        </a:p>
      </dgm:t>
    </dgm:pt>
    <dgm:pt modelId="{7A9A5AF6-4358-431F-A150-358C581787B1}" type="parTrans" cxnId="{CDA07CB9-9C88-4B1B-9957-F27DE9D029ED}">
      <dgm:prSet/>
      <dgm:spPr/>
    </dgm:pt>
    <dgm:pt modelId="{54E6B84B-B720-438D-96B1-79D82175627E}" type="sibTrans" cxnId="{CDA07CB9-9C88-4B1B-9957-F27DE9D029ED}">
      <dgm:prSet/>
      <dgm:spPr/>
    </dgm:pt>
    <dgm:pt modelId="{DCBCEA69-1726-44FB-B9EF-B1760BC3EE44}">
      <dgm:prSet phldrT="[Texte]"/>
      <dgm:spPr/>
      <dgm:t>
        <a:bodyPr/>
        <a:lstStyle/>
        <a:p>
          <a:r>
            <a:rPr lang="fr-FR" dirty="0" smtClean="0"/>
            <a:t>Classe BAD dans les collèges en sept 2017</a:t>
          </a:r>
          <a:endParaRPr lang="fr-FR" dirty="0"/>
        </a:p>
      </dgm:t>
    </dgm:pt>
    <dgm:pt modelId="{B7D8BA72-C784-4787-8C4F-F8012C2D3700}" type="parTrans" cxnId="{F193A48E-AD57-4CFB-9955-BA5DEE5F2C26}">
      <dgm:prSet/>
      <dgm:spPr/>
    </dgm:pt>
    <dgm:pt modelId="{2789AFCC-3B0C-46AC-8531-00CD0E1AD151}" type="sibTrans" cxnId="{F193A48E-AD57-4CFB-9955-BA5DEE5F2C26}">
      <dgm:prSet/>
      <dgm:spPr/>
    </dgm:pt>
    <dgm:pt modelId="{14F39C55-2877-452C-9527-2905C476812F}">
      <dgm:prSet phldrT="[Texte]"/>
      <dgm:spPr/>
      <dgm:t>
        <a:bodyPr/>
        <a:lstStyle/>
        <a:p>
          <a:r>
            <a:rPr lang="fr-FR" dirty="0" smtClean="0"/>
            <a:t>Bad pour les entreprises d’HERBLAY</a:t>
          </a:r>
          <a:endParaRPr lang="fr-FR" dirty="0"/>
        </a:p>
      </dgm:t>
    </dgm:pt>
    <dgm:pt modelId="{97328224-68F8-47BE-B70A-953EB2583323}" type="parTrans" cxnId="{59EB18EB-B8A2-4AEC-8030-D0013C9CA539}">
      <dgm:prSet/>
      <dgm:spPr/>
    </dgm:pt>
    <dgm:pt modelId="{D9AE074C-9A60-44BA-8C19-93585102C5BD}" type="sibTrans" cxnId="{59EB18EB-B8A2-4AEC-8030-D0013C9CA539}">
      <dgm:prSet/>
      <dgm:spPr/>
    </dgm:pt>
    <dgm:pt modelId="{AA92C77B-5942-4D5B-BB32-77E5A5D330B7}">
      <dgm:prSet phldrT="[Texte]"/>
      <dgm:spPr/>
      <dgm:t>
        <a:bodyPr/>
        <a:lstStyle/>
        <a:p>
          <a:r>
            <a:rPr lang="fr-FR" dirty="0" smtClean="0"/>
            <a:t>Réussir nos évènements</a:t>
          </a:r>
          <a:endParaRPr lang="fr-FR" dirty="0"/>
        </a:p>
      </dgm:t>
    </dgm:pt>
    <dgm:pt modelId="{605B4627-BB75-41DE-9AAD-61CC59435C51}" type="parTrans" cxnId="{8015C8DE-4577-49E0-9A66-FF2D393D8BB0}">
      <dgm:prSet/>
      <dgm:spPr/>
    </dgm:pt>
    <dgm:pt modelId="{33C97CEB-F68B-475A-AD9A-CE270CB286DB}" type="sibTrans" cxnId="{8015C8DE-4577-49E0-9A66-FF2D393D8BB0}">
      <dgm:prSet/>
      <dgm:spPr/>
    </dgm:pt>
    <dgm:pt modelId="{56EEA754-D483-49D8-A157-772B338AC8A9}" type="pres">
      <dgm:prSet presAssocID="{C409340A-59BE-41B1-8B71-BCE6E6314049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25B5C393-2927-41DE-902E-46B56CD43241}" type="pres">
      <dgm:prSet presAssocID="{C409340A-59BE-41B1-8B71-BCE6E6314049}" presName="outerBox" presStyleCnt="0"/>
      <dgm:spPr/>
    </dgm:pt>
    <dgm:pt modelId="{C2D3BC27-FAEC-4DC1-A020-245E5DE5F2DD}" type="pres">
      <dgm:prSet presAssocID="{C409340A-59BE-41B1-8B71-BCE6E6314049}" presName="outerBoxParent" presStyleLbl="node1" presStyleIdx="0" presStyleCnt="3" custLinFactNeighborY="690"/>
      <dgm:spPr/>
      <dgm:t>
        <a:bodyPr/>
        <a:lstStyle/>
        <a:p>
          <a:endParaRPr lang="fr-FR"/>
        </a:p>
      </dgm:t>
    </dgm:pt>
    <dgm:pt modelId="{68637907-7ED3-43EE-8B42-8B02F2CF139D}" type="pres">
      <dgm:prSet presAssocID="{C409340A-59BE-41B1-8B71-BCE6E6314049}" presName="outerBoxChildren" presStyleCnt="0"/>
      <dgm:spPr/>
    </dgm:pt>
    <dgm:pt modelId="{41581AD8-08CC-45B3-832B-4C3683A68EC7}" type="pres">
      <dgm:prSet presAssocID="{21ADF142-6AAA-4A15-9F3F-8A459CBFB61F}" presName="oChild" presStyleLbl="fgAcc1" presStyleIdx="0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CFDEFE-CF12-45EC-8941-A26F6FA82517}" type="pres">
      <dgm:prSet presAssocID="{5CBEB838-5C22-445B-9BE4-BDF78ADC3202}" presName="outerSibTrans" presStyleCnt="0"/>
      <dgm:spPr/>
    </dgm:pt>
    <dgm:pt modelId="{414AE6EB-4DD1-4116-9ABE-442598254B32}" type="pres">
      <dgm:prSet presAssocID="{FA5EEE09-B3DC-4D0D-B00C-3A9BFFB1367D}" presName="oChild" presStyleLbl="fgAcc1" presStyleIdx="1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EFA7489-295C-4662-BF19-B13306D3A5FF}" type="pres">
      <dgm:prSet presAssocID="{8A2126AA-0208-4A00-8858-DB1D53510DEE}" presName="outerSibTrans" presStyleCnt="0"/>
      <dgm:spPr/>
    </dgm:pt>
    <dgm:pt modelId="{76632960-FF72-4B1B-AEA0-590C8BABE508}" type="pres">
      <dgm:prSet presAssocID="{05D66023-CD63-43D2-BEB7-2FA5578B8B1B}" presName="oChild" presStyleLbl="fgAcc1" presStyleIdx="2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0FD49AC-AB76-4F32-880A-24F5FB70B6B7}" type="pres">
      <dgm:prSet presAssocID="{69F7F9AA-D610-415B-8734-68D35ECC1223}" presName="outerSibTrans" presStyleCnt="0"/>
      <dgm:spPr/>
    </dgm:pt>
    <dgm:pt modelId="{AA63B5B9-B0F3-412B-AD49-ED89F6AE67FF}" type="pres">
      <dgm:prSet presAssocID="{B568F9B5-A7D4-40DD-89D6-5D0111121D37}" presName="oChild" presStyleLbl="fgAcc1" presStyleIdx="3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F5E94E9-51A4-472C-AF48-19112285A919}" type="pres">
      <dgm:prSet presAssocID="{54E6B84B-B720-438D-96B1-79D82175627E}" presName="outerSibTrans" presStyleCnt="0"/>
      <dgm:spPr/>
    </dgm:pt>
    <dgm:pt modelId="{94DD7BA6-D69B-48A2-A4F3-39DAA2E82BE3}" type="pres">
      <dgm:prSet presAssocID="{AA92C77B-5942-4D5B-BB32-77E5A5D330B7}" presName="oChild" presStyleLbl="fgAcc1" presStyleIdx="4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151CD8F-E228-4E45-9AA3-C1B1AF1302E5}" type="pres">
      <dgm:prSet presAssocID="{C409340A-59BE-41B1-8B71-BCE6E6314049}" presName="middleBox" presStyleCnt="0"/>
      <dgm:spPr/>
    </dgm:pt>
    <dgm:pt modelId="{00D1622C-290C-49B7-A652-9AE51857BB10}" type="pres">
      <dgm:prSet presAssocID="{C409340A-59BE-41B1-8B71-BCE6E6314049}" presName="middleBoxParent" presStyleLbl="node1" presStyleIdx="1" presStyleCnt="3"/>
      <dgm:spPr/>
      <dgm:t>
        <a:bodyPr/>
        <a:lstStyle/>
        <a:p>
          <a:endParaRPr lang="fr-FR"/>
        </a:p>
      </dgm:t>
    </dgm:pt>
    <dgm:pt modelId="{E99410EB-BE76-4CFA-B3A9-291A80598EF0}" type="pres">
      <dgm:prSet presAssocID="{C409340A-59BE-41B1-8B71-BCE6E6314049}" presName="middleBoxChildren" presStyleCnt="0"/>
      <dgm:spPr/>
    </dgm:pt>
    <dgm:pt modelId="{6E378652-8080-4B6F-A103-5F62EBC5C430}" type="pres">
      <dgm:prSet presAssocID="{279A0022-C5B0-422D-83AE-49763E3E8A8B}" presName="mChild" presStyleLbl="fgAcc1" presStyleIdx="5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61D7789-8F96-47B8-BB63-EAEE341DE2EF}" type="pres">
      <dgm:prSet presAssocID="{24EA8BB2-5F3E-418E-B599-3A3407B9D478}" presName="middleSibTrans" presStyleCnt="0"/>
      <dgm:spPr/>
    </dgm:pt>
    <dgm:pt modelId="{65381225-68F8-4B37-8CCC-601F4836C6AD}" type="pres">
      <dgm:prSet presAssocID="{52A10404-D2B9-4223-8B08-C7BD10818313}" presName="mChild" presStyleLbl="fgAcc1" presStyleIdx="6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9932F0-4005-4D9E-A91C-3015C605E7DC}" type="pres">
      <dgm:prSet presAssocID="{448EEE9C-0DEA-4ED9-9F1D-EF2FB5E22A16}" presName="middleSibTrans" presStyleCnt="0"/>
      <dgm:spPr/>
    </dgm:pt>
    <dgm:pt modelId="{EC06B093-B4E1-42F8-AADC-F1E39E7966E6}" type="pres">
      <dgm:prSet presAssocID="{B5BCCE42-8E33-415C-A458-ECC5907C2FEA}" presName="mChild" presStyleLbl="fgAcc1" presStyleIdx="7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501D7CE-D03C-4DF8-B03C-099A0E9B2D60}" type="pres">
      <dgm:prSet presAssocID="{E78E17EA-D81F-4D7C-898A-15384409DF25}" presName="middleSibTrans" presStyleCnt="0"/>
      <dgm:spPr/>
    </dgm:pt>
    <dgm:pt modelId="{85937269-E6D6-4195-B05A-E963871C249E}" type="pres">
      <dgm:prSet presAssocID="{DCBCEA69-1726-44FB-B9EF-B1760BC3EE44}" presName="mChild" presStyleLbl="fgAcc1" presStyleIdx="8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2238E54-2BAE-45C2-8F78-4D76E5BAB009}" type="pres">
      <dgm:prSet presAssocID="{2789AFCC-3B0C-46AC-8531-00CD0E1AD151}" presName="middleSibTrans" presStyleCnt="0"/>
      <dgm:spPr/>
    </dgm:pt>
    <dgm:pt modelId="{06F194CD-0414-4BA5-BD77-5CFAD1D46333}" type="pres">
      <dgm:prSet presAssocID="{14F39C55-2877-452C-9527-2905C476812F}" presName="mChild" presStyleLbl="fgAcc1" presStyleIdx="9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789F55-23CD-4A53-A39A-CDEA8D533386}" type="pres">
      <dgm:prSet presAssocID="{C409340A-59BE-41B1-8B71-BCE6E6314049}" presName="centerBox" presStyleCnt="0"/>
      <dgm:spPr/>
    </dgm:pt>
    <dgm:pt modelId="{C4541323-0719-4B07-8750-ECA7B61236AF}" type="pres">
      <dgm:prSet presAssocID="{C409340A-59BE-41B1-8B71-BCE6E6314049}" presName="centerBoxParent" presStyleLbl="node1" presStyleIdx="2" presStyleCnt="3"/>
      <dgm:spPr/>
      <dgm:t>
        <a:bodyPr/>
        <a:lstStyle/>
        <a:p>
          <a:endParaRPr lang="fr-FR"/>
        </a:p>
      </dgm:t>
    </dgm:pt>
    <dgm:pt modelId="{0EA8CA2C-D899-499B-94D6-38736448163C}" type="pres">
      <dgm:prSet presAssocID="{C409340A-59BE-41B1-8B71-BCE6E6314049}" presName="centerBoxChildren" presStyleCnt="0"/>
      <dgm:spPr/>
    </dgm:pt>
    <dgm:pt modelId="{D3F5046F-83EC-4333-8938-FD330D6A4168}" type="pres">
      <dgm:prSet presAssocID="{EACD6707-6906-4913-AEEA-C2B1FF7ADAC9}" presName="cChild" presStyleLbl="fgAcc1" presStyleIdx="10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44F1043-16CF-419C-9047-8ED2A20888E9}" type="pres">
      <dgm:prSet presAssocID="{534A5743-C441-4480-AF14-BA4A0ED54896}" presName="centerSibTrans" presStyleCnt="0"/>
      <dgm:spPr/>
    </dgm:pt>
    <dgm:pt modelId="{A9396BCF-1701-46B3-972B-21FC62F713A6}" type="pres">
      <dgm:prSet presAssocID="{32CC97D2-8F9C-4E70-951D-76719691AAD5}" presName="cChild" presStyleLbl="fgAcc1" presStyleIdx="11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E6252F5-7B49-482D-98A8-22E0300DF462}" srcId="{47AE7794-A1B3-4599-BFCE-0F6F5F6EB0C7}" destId="{32CC97D2-8F9C-4E70-951D-76719691AAD5}" srcOrd="1" destOrd="0" parTransId="{EB4F8696-2AD7-4B76-BD06-5135CCE706C2}" sibTransId="{8742E588-B6F0-49F7-B7F4-9BF151033281}"/>
    <dgm:cxn modelId="{F5495361-535E-4A64-9388-559C9F03F361}" type="presOf" srcId="{AA92C77B-5942-4D5B-BB32-77E5A5D330B7}" destId="{94DD7BA6-D69B-48A2-A4F3-39DAA2E82BE3}" srcOrd="0" destOrd="0" presId="urn:microsoft.com/office/officeart/2005/8/layout/target2"/>
    <dgm:cxn modelId="{F14CDC10-109B-48B4-B084-769165F44211}" srcId="{3CBF9FBE-4EED-4B1F-BDC5-996D2BB1E23E}" destId="{B5BCCE42-8E33-415C-A458-ECC5907C2FEA}" srcOrd="2" destOrd="0" parTransId="{8401984B-8E2B-4A60-BF2D-61DCAD3F8D96}" sibTransId="{E78E17EA-D81F-4D7C-898A-15384409DF25}"/>
    <dgm:cxn modelId="{5473D1A3-FC71-44CA-94F8-00EAF016754B}" type="presOf" srcId="{14F39C55-2877-452C-9527-2905C476812F}" destId="{06F194CD-0414-4BA5-BD77-5CFAD1D46333}" srcOrd="0" destOrd="0" presId="urn:microsoft.com/office/officeart/2005/8/layout/target2"/>
    <dgm:cxn modelId="{59EB18EB-B8A2-4AEC-8030-D0013C9CA539}" srcId="{3CBF9FBE-4EED-4B1F-BDC5-996D2BB1E23E}" destId="{14F39C55-2877-452C-9527-2905C476812F}" srcOrd="4" destOrd="0" parTransId="{97328224-68F8-47BE-B70A-953EB2583323}" sibTransId="{D9AE074C-9A60-44BA-8C19-93585102C5BD}"/>
    <dgm:cxn modelId="{D720B4D7-5690-433C-A17E-3411858A308F}" type="presOf" srcId="{05D66023-CD63-43D2-BEB7-2FA5578B8B1B}" destId="{76632960-FF72-4B1B-AEA0-590C8BABE508}" srcOrd="0" destOrd="0" presId="urn:microsoft.com/office/officeart/2005/8/layout/target2"/>
    <dgm:cxn modelId="{F29AAC0E-1981-4DF5-BBD6-9D30E6689ABB}" srcId="{47AE7794-A1B3-4599-BFCE-0F6F5F6EB0C7}" destId="{EACD6707-6906-4913-AEEA-C2B1FF7ADAC9}" srcOrd="0" destOrd="0" parTransId="{A6DF86F8-5BCF-498B-9A71-CEAD030F37F8}" sibTransId="{534A5743-C441-4480-AF14-BA4A0ED54896}"/>
    <dgm:cxn modelId="{00A97DEF-AB38-4950-8DBE-DFC0CA7CA55B}" type="presOf" srcId="{21ADF142-6AAA-4A15-9F3F-8A459CBFB61F}" destId="{41581AD8-08CC-45B3-832B-4C3683A68EC7}" srcOrd="0" destOrd="0" presId="urn:microsoft.com/office/officeart/2005/8/layout/target2"/>
    <dgm:cxn modelId="{2DBCC7D0-1292-440F-BB5F-9D6B32CF1338}" srcId="{3CBF9FBE-4EED-4B1F-BDC5-996D2BB1E23E}" destId="{279A0022-C5B0-422D-83AE-49763E3E8A8B}" srcOrd="0" destOrd="0" parTransId="{EB4E4147-1C39-42D5-BE4A-A074C825CA2F}" sibTransId="{24EA8BB2-5F3E-418E-B599-3A3407B9D478}"/>
    <dgm:cxn modelId="{D22B1D15-8E06-4CFC-9357-45B63E615E97}" type="presOf" srcId="{B5BCCE42-8E33-415C-A458-ECC5907C2FEA}" destId="{EC06B093-B4E1-42F8-AADC-F1E39E7966E6}" srcOrd="0" destOrd="0" presId="urn:microsoft.com/office/officeart/2005/8/layout/target2"/>
    <dgm:cxn modelId="{D2B16858-DD11-4365-A6B4-8734D5EA73CB}" type="presOf" srcId="{B568F9B5-A7D4-40DD-89D6-5D0111121D37}" destId="{AA63B5B9-B0F3-412B-AD49-ED89F6AE67FF}" srcOrd="0" destOrd="0" presId="urn:microsoft.com/office/officeart/2005/8/layout/target2"/>
    <dgm:cxn modelId="{27829428-DFA4-43FD-893B-44885E64112D}" type="presOf" srcId="{47AE7794-A1B3-4599-BFCE-0F6F5F6EB0C7}" destId="{C4541323-0719-4B07-8750-ECA7B61236AF}" srcOrd="0" destOrd="0" presId="urn:microsoft.com/office/officeart/2005/8/layout/target2"/>
    <dgm:cxn modelId="{31F80251-8C3E-417A-90D3-044EF7779B2A}" type="presOf" srcId="{EACD6707-6906-4913-AEEA-C2B1FF7ADAC9}" destId="{D3F5046F-83EC-4333-8938-FD330D6A4168}" srcOrd="0" destOrd="0" presId="urn:microsoft.com/office/officeart/2005/8/layout/target2"/>
    <dgm:cxn modelId="{CDA07CB9-9C88-4B1B-9957-F27DE9D029ED}" srcId="{D72F27C1-F729-4B2F-AEE1-F7383903EB35}" destId="{B568F9B5-A7D4-40DD-89D6-5D0111121D37}" srcOrd="3" destOrd="0" parTransId="{7A9A5AF6-4358-431F-A150-358C581787B1}" sibTransId="{54E6B84B-B720-438D-96B1-79D82175627E}"/>
    <dgm:cxn modelId="{4CF6D1E1-4AA9-4487-B8B2-F3B91A96036B}" type="presOf" srcId="{279A0022-C5B0-422D-83AE-49763E3E8A8B}" destId="{6E378652-8080-4B6F-A103-5F62EBC5C430}" srcOrd="0" destOrd="0" presId="urn:microsoft.com/office/officeart/2005/8/layout/target2"/>
    <dgm:cxn modelId="{F193A48E-AD57-4CFB-9955-BA5DEE5F2C26}" srcId="{3CBF9FBE-4EED-4B1F-BDC5-996D2BB1E23E}" destId="{DCBCEA69-1726-44FB-B9EF-B1760BC3EE44}" srcOrd="3" destOrd="0" parTransId="{B7D8BA72-C784-4787-8C4F-F8012C2D3700}" sibTransId="{2789AFCC-3B0C-46AC-8531-00CD0E1AD151}"/>
    <dgm:cxn modelId="{A31D86E3-7241-4324-8C77-76A48B777563}" srcId="{D72F27C1-F729-4B2F-AEE1-F7383903EB35}" destId="{21ADF142-6AAA-4A15-9F3F-8A459CBFB61F}" srcOrd="0" destOrd="0" parTransId="{E23E067E-94C9-4A57-8136-7F224F6254D2}" sibTransId="{5CBEB838-5C22-445B-9BE4-BDF78ADC3202}"/>
    <dgm:cxn modelId="{E64BA31A-657E-4B95-95C5-61EC19B8646D}" type="presOf" srcId="{32CC97D2-8F9C-4E70-951D-76719691AAD5}" destId="{A9396BCF-1701-46B3-972B-21FC62F713A6}" srcOrd="0" destOrd="0" presId="urn:microsoft.com/office/officeart/2005/8/layout/target2"/>
    <dgm:cxn modelId="{4D67F30F-C201-48F5-B0FB-63DA126892CF}" srcId="{C409340A-59BE-41B1-8B71-BCE6E6314049}" destId="{47AE7794-A1B3-4599-BFCE-0F6F5F6EB0C7}" srcOrd="2" destOrd="0" parTransId="{69D22791-2447-4D4C-B616-90BA29756409}" sibTransId="{7DB2AF67-F713-4F47-AB29-29435CDA88C3}"/>
    <dgm:cxn modelId="{3D20B196-5E05-4F2D-AD63-DB92934C0499}" type="presOf" srcId="{52A10404-D2B9-4223-8B08-C7BD10818313}" destId="{65381225-68F8-4B37-8CCC-601F4836C6AD}" srcOrd="0" destOrd="0" presId="urn:microsoft.com/office/officeart/2005/8/layout/target2"/>
    <dgm:cxn modelId="{957E90C0-4D64-4240-9818-160C59949682}" type="presOf" srcId="{3CBF9FBE-4EED-4B1F-BDC5-996D2BB1E23E}" destId="{00D1622C-290C-49B7-A652-9AE51857BB10}" srcOrd="0" destOrd="0" presId="urn:microsoft.com/office/officeart/2005/8/layout/target2"/>
    <dgm:cxn modelId="{C3778792-3A11-43B4-8DCC-1C87CA52D595}" type="presOf" srcId="{D72F27C1-F729-4B2F-AEE1-F7383903EB35}" destId="{C2D3BC27-FAEC-4DC1-A020-245E5DE5F2DD}" srcOrd="0" destOrd="0" presId="urn:microsoft.com/office/officeart/2005/8/layout/target2"/>
    <dgm:cxn modelId="{E2A2205D-03D1-4B37-BC01-6DE1878090D3}" srcId="{C409340A-59BE-41B1-8B71-BCE6E6314049}" destId="{3CBF9FBE-4EED-4B1F-BDC5-996D2BB1E23E}" srcOrd="1" destOrd="0" parTransId="{F51A1C40-7DEF-469C-AF37-C287992B1DAE}" sibTransId="{7CCE09A0-5EAD-4658-A062-253C210D8D1F}"/>
    <dgm:cxn modelId="{B1938B07-6FE4-474E-937A-7F70B03355E4}" srcId="{D72F27C1-F729-4B2F-AEE1-F7383903EB35}" destId="{05D66023-CD63-43D2-BEB7-2FA5578B8B1B}" srcOrd="2" destOrd="0" parTransId="{B3E40F00-E40E-4550-B3C0-03C4DC5325BA}" sibTransId="{69F7F9AA-D610-415B-8734-68D35ECC1223}"/>
    <dgm:cxn modelId="{8015C8DE-4577-49E0-9A66-FF2D393D8BB0}" srcId="{D72F27C1-F729-4B2F-AEE1-F7383903EB35}" destId="{AA92C77B-5942-4D5B-BB32-77E5A5D330B7}" srcOrd="4" destOrd="0" parTransId="{605B4627-BB75-41DE-9AAD-61CC59435C51}" sibTransId="{33C97CEB-F68B-475A-AD9A-CE270CB286DB}"/>
    <dgm:cxn modelId="{6EA64657-5C9F-4FCC-B9E8-05A09955CC62}" srcId="{3CBF9FBE-4EED-4B1F-BDC5-996D2BB1E23E}" destId="{52A10404-D2B9-4223-8B08-C7BD10818313}" srcOrd="1" destOrd="0" parTransId="{AA16A5AF-1FB3-4C73-AD92-EF327E102816}" sibTransId="{448EEE9C-0DEA-4ED9-9F1D-EF2FB5E22A16}"/>
    <dgm:cxn modelId="{C333812A-2540-4F35-BE23-71975D0B590F}" type="presOf" srcId="{FA5EEE09-B3DC-4D0D-B00C-3A9BFFB1367D}" destId="{414AE6EB-4DD1-4116-9ABE-442598254B32}" srcOrd="0" destOrd="0" presId="urn:microsoft.com/office/officeart/2005/8/layout/target2"/>
    <dgm:cxn modelId="{26F6A8D6-98A1-44F3-9DC9-8BD8C6056760}" type="presOf" srcId="{DCBCEA69-1726-44FB-B9EF-B1760BC3EE44}" destId="{85937269-E6D6-4195-B05A-E963871C249E}" srcOrd="0" destOrd="0" presId="urn:microsoft.com/office/officeart/2005/8/layout/target2"/>
    <dgm:cxn modelId="{8C75202F-C289-42E2-9542-C99E91CBB663}" type="presOf" srcId="{C409340A-59BE-41B1-8B71-BCE6E6314049}" destId="{56EEA754-D483-49D8-A157-772B338AC8A9}" srcOrd="0" destOrd="0" presId="urn:microsoft.com/office/officeart/2005/8/layout/target2"/>
    <dgm:cxn modelId="{F30C5AE6-DB5C-4A7E-A0A1-D8BCBFC514C8}" srcId="{C409340A-59BE-41B1-8B71-BCE6E6314049}" destId="{D72F27C1-F729-4B2F-AEE1-F7383903EB35}" srcOrd="0" destOrd="0" parTransId="{D199444C-D923-4773-8840-9F57C4B5FCE5}" sibTransId="{D7FB9569-94ED-4327-B47E-DF532A04AC03}"/>
    <dgm:cxn modelId="{B46FBF70-7FD7-4624-AAF0-6DFB61BA0966}" srcId="{D72F27C1-F729-4B2F-AEE1-F7383903EB35}" destId="{FA5EEE09-B3DC-4D0D-B00C-3A9BFFB1367D}" srcOrd="1" destOrd="0" parTransId="{69F644E2-DBB5-4355-BAA5-AC651AF9D7AF}" sibTransId="{8A2126AA-0208-4A00-8858-DB1D53510DEE}"/>
    <dgm:cxn modelId="{0DE56DB6-8C48-4698-AAFF-3E765B0976DC}" type="presParOf" srcId="{56EEA754-D483-49D8-A157-772B338AC8A9}" destId="{25B5C393-2927-41DE-902E-46B56CD43241}" srcOrd="0" destOrd="0" presId="urn:microsoft.com/office/officeart/2005/8/layout/target2"/>
    <dgm:cxn modelId="{CFAC768A-057C-4C2F-92E5-FB81D308E4FB}" type="presParOf" srcId="{25B5C393-2927-41DE-902E-46B56CD43241}" destId="{C2D3BC27-FAEC-4DC1-A020-245E5DE5F2DD}" srcOrd="0" destOrd="0" presId="urn:microsoft.com/office/officeart/2005/8/layout/target2"/>
    <dgm:cxn modelId="{AAD1C3D1-BAC9-459E-B93E-8F4176FC8386}" type="presParOf" srcId="{25B5C393-2927-41DE-902E-46B56CD43241}" destId="{68637907-7ED3-43EE-8B42-8B02F2CF139D}" srcOrd="1" destOrd="0" presId="urn:microsoft.com/office/officeart/2005/8/layout/target2"/>
    <dgm:cxn modelId="{115EB6F4-5182-4DE3-9290-86659B5B7ED9}" type="presParOf" srcId="{68637907-7ED3-43EE-8B42-8B02F2CF139D}" destId="{41581AD8-08CC-45B3-832B-4C3683A68EC7}" srcOrd="0" destOrd="0" presId="urn:microsoft.com/office/officeart/2005/8/layout/target2"/>
    <dgm:cxn modelId="{48585DFF-D2C2-4D2A-A489-C6D9996D90F8}" type="presParOf" srcId="{68637907-7ED3-43EE-8B42-8B02F2CF139D}" destId="{72CFDEFE-CF12-45EC-8941-A26F6FA82517}" srcOrd="1" destOrd="0" presId="urn:microsoft.com/office/officeart/2005/8/layout/target2"/>
    <dgm:cxn modelId="{88164F16-2E1B-45E5-B9F9-12D39C62566D}" type="presParOf" srcId="{68637907-7ED3-43EE-8B42-8B02F2CF139D}" destId="{414AE6EB-4DD1-4116-9ABE-442598254B32}" srcOrd="2" destOrd="0" presId="urn:microsoft.com/office/officeart/2005/8/layout/target2"/>
    <dgm:cxn modelId="{240CA76D-2962-4DE9-8BC8-C5B440CE34EF}" type="presParOf" srcId="{68637907-7ED3-43EE-8B42-8B02F2CF139D}" destId="{AEFA7489-295C-4662-BF19-B13306D3A5FF}" srcOrd="3" destOrd="0" presId="urn:microsoft.com/office/officeart/2005/8/layout/target2"/>
    <dgm:cxn modelId="{99DC4FEE-1AF6-4FA1-A271-ADC8C8752EDC}" type="presParOf" srcId="{68637907-7ED3-43EE-8B42-8B02F2CF139D}" destId="{76632960-FF72-4B1B-AEA0-590C8BABE508}" srcOrd="4" destOrd="0" presId="urn:microsoft.com/office/officeart/2005/8/layout/target2"/>
    <dgm:cxn modelId="{F855FC87-BC4B-485C-ABF1-EA270A241137}" type="presParOf" srcId="{68637907-7ED3-43EE-8B42-8B02F2CF139D}" destId="{20FD49AC-AB76-4F32-880A-24F5FB70B6B7}" srcOrd="5" destOrd="0" presId="urn:microsoft.com/office/officeart/2005/8/layout/target2"/>
    <dgm:cxn modelId="{09EFED29-7895-47F2-8E83-903FD6F54989}" type="presParOf" srcId="{68637907-7ED3-43EE-8B42-8B02F2CF139D}" destId="{AA63B5B9-B0F3-412B-AD49-ED89F6AE67FF}" srcOrd="6" destOrd="0" presId="urn:microsoft.com/office/officeart/2005/8/layout/target2"/>
    <dgm:cxn modelId="{761AABB9-50AE-4A46-AEE6-664EBDB61DD6}" type="presParOf" srcId="{68637907-7ED3-43EE-8B42-8B02F2CF139D}" destId="{6F5E94E9-51A4-472C-AF48-19112285A919}" srcOrd="7" destOrd="0" presId="urn:microsoft.com/office/officeart/2005/8/layout/target2"/>
    <dgm:cxn modelId="{53D70295-3CC5-4E6F-937F-5033873D5004}" type="presParOf" srcId="{68637907-7ED3-43EE-8B42-8B02F2CF139D}" destId="{94DD7BA6-D69B-48A2-A4F3-39DAA2E82BE3}" srcOrd="8" destOrd="0" presId="urn:microsoft.com/office/officeart/2005/8/layout/target2"/>
    <dgm:cxn modelId="{F761A36A-2113-4427-849D-1BCEEAF0A4FD}" type="presParOf" srcId="{56EEA754-D483-49D8-A157-772B338AC8A9}" destId="{E151CD8F-E228-4E45-9AA3-C1B1AF1302E5}" srcOrd="1" destOrd="0" presId="urn:microsoft.com/office/officeart/2005/8/layout/target2"/>
    <dgm:cxn modelId="{32F93EBD-048F-4DC4-9BE4-FF7BF90B853B}" type="presParOf" srcId="{E151CD8F-E228-4E45-9AA3-C1B1AF1302E5}" destId="{00D1622C-290C-49B7-A652-9AE51857BB10}" srcOrd="0" destOrd="0" presId="urn:microsoft.com/office/officeart/2005/8/layout/target2"/>
    <dgm:cxn modelId="{82735C96-CFE3-45A8-8D7B-67E5DC02D7EB}" type="presParOf" srcId="{E151CD8F-E228-4E45-9AA3-C1B1AF1302E5}" destId="{E99410EB-BE76-4CFA-B3A9-291A80598EF0}" srcOrd="1" destOrd="0" presId="urn:microsoft.com/office/officeart/2005/8/layout/target2"/>
    <dgm:cxn modelId="{A5B222E7-3718-4906-A65C-413422C2EC30}" type="presParOf" srcId="{E99410EB-BE76-4CFA-B3A9-291A80598EF0}" destId="{6E378652-8080-4B6F-A103-5F62EBC5C430}" srcOrd="0" destOrd="0" presId="urn:microsoft.com/office/officeart/2005/8/layout/target2"/>
    <dgm:cxn modelId="{81CB664D-1582-436E-89D7-1454BE1B1786}" type="presParOf" srcId="{E99410EB-BE76-4CFA-B3A9-291A80598EF0}" destId="{661D7789-8F96-47B8-BB63-EAEE341DE2EF}" srcOrd="1" destOrd="0" presId="urn:microsoft.com/office/officeart/2005/8/layout/target2"/>
    <dgm:cxn modelId="{3E4B8797-DDAA-4E13-A90F-49DC59B6BAF4}" type="presParOf" srcId="{E99410EB-BE76-4CFA-B3A9-291A80598EF0}" destId="{65381225-68F8-4B37-8CCC-601F4836C6AD}" srcOrd="2" destOrd="0" presId="urn:microsoft.com/office/officeart/2005/8/layout/target2"/>
    <dgm:cxn modelId="{FFCF5CBE-1B13-481D-8568-82509EFFB282}" type="presParOf" srcId="{E99410EB-BE76-4CFA-B3A9-291A80598EF0}" destId="{509932F0-4005-4D9E-A91C-3015C605E7DC}" srcOrd="3" destOrd="0" presId="urn:microsoft.com/office/officeart/2005/8/layout/target2"/>
    <dgm:cxn modelId="{6BFFC9E5-09C7-4257-AF20-8006CB5CE346}" type="presParOf" srcId="{E99410EB-BE76-4CFA-B3A9-291A80598EF0}" destId="{EC06B093-B4E1-42F8-AADC-F1E39E7966E6}" srcOrd="4" destOrd="0" presId="urn:microsoft.com/office/officeart/2005/8/layout/target2"/>
    <dgm:cxn modelId="{08CD266E-C424-4CEF-A93A-A73CB1706632}" type="presParOf" srcId="{E99410EB-BE76-4CFA-B3A9-291A80598EF0}" destId="{9501D7CE-D03C-4DF8-B03C-099A0E9B2D60}" srcOrd="5" destOrd="0" presId="urn:microsoft.com/office/officeart/2005/8/layout/target2"/>
    <dgm:cxn modelId="{836C0427-FDF9-4B50-8D77-C3D0EE7BEB76}" type="presParOf" srcId="{E99410EB-BE76-4CFA-B3A9-291A80598EF0}" destId="{85937269-E6D6-4195-B05A-E963871C249E}" srcOrd="6" destOrd="0" presId="urn:microsoft.com/office/officeart/2005/8/layout/target2"/>
    <dgm:cxn modelId="{A81F0A0B-4C50-453C-9DEE-3AF4C6FB35D6}" type="presParOf" srcId="{E99410EB-BE76-4CFA-B3A9-291A80598EF0}" destId="{F2238E54-2BAE-45C2-8F78-4D76E5BAB009}" srcOrd="7" destOrd="0" presId="urn:microsoft.com/office/officeart/2005/8/layout/target2"/>
    <dgm:cxn modelId="{F68B72A1-9790-4D50-89ED-924F24A418AB}" type="presParOf" srcId="{E99410EB-BE76-4CFA-B3A9-291A80598EF0}" destId="{06F194CD-0414-4BA5-BD77-5CFAD1D46333}" srcOrd="8" destOrd="0" presId="urn:microsoft.com/office/officeart/2005/8/layout/target2"/>
    <dgm:cxn modelId="{F825C2FF-4ABC-49B6-831D-AB849AF00CE7}" type="presParOf" srcId="{56EEA754-D483-49D8-A157-772B338AC8A9}" destId="{EE789F55-23CD-4A53-A39A-CDEA8D533386}" srcOrd="2" destOrd="0" presId="urn:microsoft.com/office/officeart/2005/8/layout/target2"/>
    <dgm:cxn modelId="{E0AA5298-D864-4C83-8CB2-C5D325498C0B}" type="presParOf" srcId="{EE789F55-23CD-4A53-A39A-CDEA8D533386}" destId="{C4541323-0719-4B07-8750-ECA7B61236AF}" srcOrd="0" destOrd="0" presId="urn:microsoft.com/office/officeart/2005/8/layout/target2"/>
    <dgm:cxn modelId="{E4CC94F1-6F96-468E-B823-63F37DF86FEE}" type="presParOf" srcId="{EE789F55-23CD-4A53-A39A-CDEA8D533386}" destId="{0EA8CA2C-D899-499B-94D6-38736448163C}" srcOrd="1" destOrd="0" presId="urn:microsoft.com/office/officeart/2005/8/layout/target2"/>
    <dgm:cxn modelId="{ABC99442-3F02-4412-86C8-FF9FEC7B0C54}" type="presParOf" srcId="{0EA8CA2C-D899-499B-94D6-38736448163C}" destId="{D3F5046F-83EC-4333-8938-FD330D6A4168}" srcOrd="0" destOrd="0" presId="urn:microsoft.com/office/officeart/2005/8/layout/target2"/>
    <dgm:cxn modelId="{89FCA618-237D-4267-94A8-ED39C2001D7A}" type="presParOf" srcId="{0EA8CA2C-D899-499B-94D6-38736448163C}" destId="{044F1043-16CF-419C-9047-8ED2A20888E9}" srcOrd="1" destOrd="0" presId="urn:microsoft.com/office/officeart/2005/8/layout/target2"/>
    <dgm:cxn modelId="{37C4F543-40A2-400B-89CC-DFA823C7BD31}" type="presParOf" srcId="{0EA8CA2C-D899-499B-94D6-38736448163C}" destId="{A9396BCF-1701-46B3-972B-21FC62F713A6}" srcOrd="2" destOrd="0" presId="urn:microsoft.com/office/officeart/2005/8/layout/target2"/>
  </dgm:cxnLst>
  <dgm:bg/>
  <dgm:whole/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: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dirty="0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dirty="0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dirty="0" smtClean="0"/>
            <a:t>Pot de l'amitié</a:t>
          </a:r>
          <a:endParaRPr lang="fr-FR" dirty="0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7B4D875D-19DF-4D28-9599-BE7C62F0E95A}" type="presOf" srcId="{E81A0284-562D-4965-817B-B98B89BD7A12}" destId="{FB08870E-FF0D-4C93-98E3-73F93153C9AC}" srcOrd="0" destOrd="0" presId="urn:microsoft.com/office/officeart/2008/layout/VerticalCurvedList"/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1A18B1DC-E5B8-40AB-B587-6D786737020A}" type="presOf" srcId="{F010CF21-4A6D-44EF-A02C-3D5169816247}" destId="{08449366-2565-4365-85A6-6FD21C00BC0F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E0DF987D-182D-4F55-9E29-4047222B0743}" type="presOf" srcId="{B9A48CF8-D428-45D1-8969-FBBF15BE7DBA}" destId="{B33E6E9D-CEE0-4253-A8E7-0BD98EFB662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1D7FF11C-8E39-4A0C-AA84-0E6742A7278B}" type="presOf" srcId="{699445AF-5A04-47F7-878E-3F17D893EA9D}" destId="{7CCCBC3E-A548-477F-AB4A-CF7F4D57704E}" srcOrd="0" destOrd="0" presId="urn:microsoft.com/office/officeart/2008/layout/VerticalCurvedList"/>
    <dgm:cxn modelId="{80898367-5329-46CB-82F2-D5667D90F412}" type="presOf" srcId="{EDB31ED3-0E8F-4401-8F1C-3B18C9A8633A}" destId="{8126DCD3-7CB9-48CE-9320-BD9FFB148001}" srcOrd="0" destOrd="0" presId="urn:microsoft.com/office/officeart/2008/layout/VerticalCurvedList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246290E5-CA3F-4BB8-A9FC-2D0993D93712}" type="presOf" srcId="{59788018-3182-43A3-8988-94BE0745A02A}" destId="{54C74578-773C-4297-A4DE-1398F67BB91C}" srcOrd="0" destOrd="0" presId="urn:microsoft.com/office/officeart/2008/layout/VerticalCurvedList"/>
    <dgm:cxn modelId="{137C1218-F159-4DFB-A92D-D04E57CBBA84}" type="presOf" srcId="{2950704D-F612-46DF-93DB-38562274CE0A}" destId="{CD0934E8-FFC7-4C4F-89BE-AC8E748C473B}" srcOrd="0" destOrd="0" presId="urn:microsoft.com/office/officeart/2008/layout/VerticalCurvedList"/>
    <dgm:cxn modelId="{C39BFEEC-E84A-4C08-A69E-A0E0EA8122A1}" type="presOf" srcId="{F562CD0B-E8EB-4DBC-82FD-4F9ECF32E366}" destId="{6940BDDF-1FEF-41BF-B9E9-0FFE3926A970}" srcOrd="0" destOrd="0" presId="urn:microsoft.com/office/officeart/2008/layout/VerticalCurvedList"/>
    <dgm:cxn modelId="{307DD910-EFC2-46F7-9652-C1D5FB6D4FCE}" type="presOf" srcId="{445F633E-575C-4AF5-92DD-A71CC7C927A2}" destId="{08F89A7F-2AF5-4371-8B52-FA6479DF35C0}" srcOrd="0" destOrd="0" presId="urn:microsoft.com/office/officeart/2008/layout/VerticalCurvedList"/>
    <dgm:cxn modelId="{995A8E50-450B-4947-98A9-1509C3FA346E}" type="presParOf" srcId="{08449366-2565-4365-85A6-6FD21C00BC0F}" destId="{43AFC4E7-46DA-4B7B-B201-0A406A05CAD2}" srcOrd="0" destOrd="0" presId="urn:microsoft.com/office/officeart/2008/layout/VerticalCurvedList"/>
    <dgm:cxn modelId="{32462D66-0C9B-42C3-9F8C-A769362C6ADA}" type="presParOf" srcId="{43AFC4E7-46DA-4B7B-B201-0A406A05CAD2}" destId="{C89A3969-C068-41DF-977E-ED5F7B6D0CE6}" srcOrd="0" destOrd="0" presId="urn:microsoft.com/office/officeart/2008/layout/VerticalCurvedList"/>
    <dgm:cxn modelId="{2D34690B-A54F-46E2-8A3F-12E1ACD1A23D}" type="presParOf" srcId="{C89A3969-C068-41DF-977E-ED5F7B6D0CE6}" destId="{36B09AF6-20B6-459B-86E4-BA1ECCD29B61}" srcOrd="0" destOrd="0" presId="urn:microsoft.com/office/officeart/2008/layout/VerticalCurvedList"/>
    <dgm:cxn modelId="{6DD132BA-E779-4453-ACFE-4C20D396E8B1}" type="presParOf" srcId="{C89A3969-C068-41DF-977E-ED5F7B6D0CE6}" destId="{6940BDDF-1FEF-41BF-B9E9-0FFE3926A970}" srcOrd="1" destOrd="0" presId="urn:microsoft.com/office/officeart/2008/layout/VerticalCurvedList"/>
    <dgm:cxn modelId="{989D0DC7-2710-4742-ACE6-8044D88E4910}" type="presParOf" srcId="{C89A3969-C068-41DF-977E-ED5F7B6D0CE6}" destId="{CF948C64-B606-46D3-AF0E-5C95CC7F1D42}" srcOrd="2" destOrd="0" presId="urn:microsoft.com/office/officeart/2008/layout/VerticalCurvedList"/>
    <dgm:cxn modelId="{0FF5B808-3C73-429F-97F7-116346A7DF81}" type="presParOf" srcId="{C89A3969-C068-41DF-977E-ED5F7B6D0CE6}" destId="{4485BF69-EF87-4AEE-AFDF-DE2F8D2ACCD9}" srcOrd="3" destOrd="0" presId="urn:microsoft.com/office/officeart/2008/layout/VerticalCurvedList"/>
    <dgm:cxn modelId="{85BFCA48-9E1D-42D3-8320-71934DE06625}" type="presParOf" srcId="{43AFC4E7-46DA-4B7B-B201-0A406A05CAD2}" destId="{54C74578-773C-4297-A4DE-1398F67BB91C}" srcOrd="1" destOrd="0" presId="urn:microsoft.com/office/officeart/2008/layout/VerticalCurvedList"/>
    <dgm:cxn modelId="{A1DEABED-A0D4-4E74-AE61-46494CE068B2}" type="presParOf" srcId="{43AFC4E7-46DA-4B7B-B201-0A406A05CAD2}" destId="{10D97C5B-BA88-4603-BEB8-816B9E26E1E0}" srcOrd="2" destOrd="0" presId="urn:microsoft.com/office/officeart/2008/layout/VerticalCurvedList"/>
    <dgm:cxn modelId="{2341126F-33D7-4735-9B7F-A6BBBFA081AE}" type="presParOf" srcId="{10D97C5B-BA88-4603-BEB8-816B9E26E1E0}" destId="{EBBCF617-4DDB-47D0-98C7-99413FA904B7}" srcOrd="0" destOrd="0" presId="urn:microsoft.com/office/officeart/2008/layout/VerticalCurvedList"/>
    <dgm:cxn modelId="{7949DDCA-EE30-4C78-A676-8A4A3ABEDB28}" type="presParOf" srcId="{43AFC4E7-46DA-4B7B-B201-0A406A05CAD2}" destId="{B33E6E9D-CEE0-4253-A8E7-0BD98EFB662C}" srcOrd="3" destOrd="0" presId="urn:microsoft.com/office/officeart/2008/layout/VerticalCurvedList"/>
    <dgm:cxn modelId="{3C47BA87-8313-4943-8552-0400F7A10134}" type="presParOf" srcId="{43AFC4E7-46DA-4B7B-B201-0A406A05CAD2}" destId="{0C3100F7-B06F-4D61-8952-72DDA3F196CC}" srcOrd="4" destOrd="0" presId="urn:microsoft.com/office/officeart/2008/layout/VerticalCurvedList"/>
    <dgm:cxn modelId="{E340B358-72CA-4A2D-A5C5-9757804B7D9C}" type="presParOf" srcId="{0C3100F7-B06F-4D61-8952-72DDA3F196CC}" destId="{7A113706-4115-4E46-A0DB-BB2E4C947383}" srcOrd="0" destOrd="0" presId="urn:microsoft.com/office/officeart/2008/layout/VerticalCurvedList"/>
    <dgm:cxn modelId="{966D6B60-B6E3-4461-9466-B721C3766897}" type="presParOf" srcId="{43AFC4E7-46DA-4B7B-B201-0A406A05CAD2}" destId="{CD0934E8-FFC7-4C4F-89BE-AC8E748C473B}" srcOrd="5" destOrd="0" presId="urn:microsoft.com/office/officeart/2008/layout/VerticalCurvedList"/>
    <dgm:cxn modelId="{D0A78615-3D43-4BA2-B9A3-96182E86CEB3}" type="presParOf" srcId="{43AFC4E7-46DA-4B7B-B201-0A406A05CAD2}" destId="{E9561BC4-D00A-48CE-8C8A-EEF31BA7E3DC}" srcOrd="6" destOrd="0" presId="urn:microsoft.com/office/officeart/2008/layout/VerticalCurvedList"/>
    <dgm:cxn modelId="{CDBA344A-BFBF-49AC-97D7-A2FDC6814C65}" type="presParOf" srcId="{E9561BC4-D00A-48CE-8C8A-EEF31BA7E3DC}" destId="{0692BF8D-B063-4580-8A2D-225A14481CCD}" srcOrd="0" destOrd="0" presId="urn:microsoft.com/office/officeart/2008/layout/VerticalCurvedList"/>
    <dgm:cxn modelId="{DD07169B-5DB0-440E-A637-F128AD56A548}" type="presParOf" srcId="{43AFC4E7-46DA-4B7B-B201-0A406A05CAD2}" destId="{7CCCBC3E-A548-477F-AB4A-CF7F4D57704E}" srcOrd="7" destOrd="0" presId="urn:microsoft.com/office/officeart/2008/layout/VerticalCurvedList"/>
    <dgm:cxn modelId="{514C1C83-4D0F-428D-BC65-26273C9056B0}" type="presParOf" srcId="{43AFC4E7-46DA-4B7B-B201-0A406A05CAD2}" destId="{52AAC49D-EBED-4268-8D76-691EE33A579D}" srcOrd="8" destOrd="0" presId="urn:microsoft.com/office/officeart/2008/layout/VerticalCurvedList"/>
    <dgm:cxn modelId="{3FD55BEC-7C3A-4024-81CE-6CFC12684370}" type="presParOf" srcId="{52AAC49D-EBED-4268-8D76-691EE33A579D}" destId="{153D8280-B34C-4997-89AD-DE892539C6A1}" srcOrd="0" destOrd="0" presId="urn:microsoft.com/office/officeart/2008/layout/VerticalCurvedList"/>
    <dgm:cxn modelId="{EFF17ED0-CF8A-45D2-BF03-B03293C5E5B6}" type="presParOf" srcId="{43AFC4E7-46DA-4B7B-B201-0A406A05CAD2}" destId="{08F89A7F-2AF5-4371-8B52-FA6479DF35C0}" srcOrd="9" destOrd="0" presId="urn:microsoft.com/office/officeart/2008/layout/VerticalCurvedList"/>
    <dgm:cxn modelId="{D5128E6F-05E5-4A6B-8C40-E2FFEEEDE382}" type="presParOf" srcId="{43AFC4E7-46DA-4B7B-B201-0A406A05CAD2}" destId="{F13EF3DA-EB59-4531-832A-CE6769FB357E}" srcOrd="10" destOrd="0" presId="urn:microsoft.com/office/officeart/2008/layout/VerticalCurvedList"/>
    <dgm:cxn modelId="{841D7906-999D-4FC0-8C2B-DEC7CE8EDB71}" type="presParOf" srcId="{F13EF3DA-EB59-4531-832A-CE6769FB357E}" destId="{1CAC461D-769E-43F1-85D8-A86E37EE9368}" srcOrd="0" destOrd="0" presId="urn:microsoft.com/office/officeart/2008/layout/VerticalCurvedList"/>
    <dgm:cxn modelId="{F5B32712-84F0-45B4-9834-065DD2AF855B}" type="presParOf" srcId="{43AFC4E7-46DA-4B7B-B201-0A406A05CAD2}" destId="{8126DCD3-7CB9-48CE-9320-BD9FFB148001}" srcOrd="11" destOrd="0" presId="urn:microsoft.com/office/officeart/2008/layout/VerticalCurvedList"/>
    <dgm:cxn modelId="{24B0D7B4-D777-4D84-B900-7764CCB342F5}" type="presParOf" srcId="{43AFC4E7-46DA-4B7B-B201-0A406A05CAD2}" destId="{547E224F-A6EA-4836-A3FF-8F1216A753A0}" srcOrd="12" destOrd="0" presId="urn:microsoft.com/office/officeart/2008/layout/VerticalCurvedList"/>
    <dgm:cxn modelId="{32EA0B5A-9316-44CD-815E-E5D1A451230E}" type="presParOf" srcId="{547E224F-A6EA-4836-A3FF-8F1216A753A0}" destId="{8C00D473-19AF-4CDA-AA78-6937BED59218}" srcOrd="0" destOrd="0" presId="urn:microsoft.com/office/officeart/2008/layout/VerticalCurvedList"/>
    <dgm:cxn modelId="{6E2F9EA6-3609-4269-99BE-561153321149}" type="presParOf" srcId="{43AFC4E7-46DA-4B7B-B201-0A406A05CAD2}" destId="{FB08870E-FF0D-4C93-98E3-73F93153C9AC}" srcOrd="13" destOrd="0" presId="urn:microsoft.com/office/officeart/2008/layout/VerticalCurvedList"/>
    <dgm:cxn modelId="{33B248E0-EC77-4340-A338-E4F6A65CA6B5}" type="presParOf" srcId="{43AFC4E7-46DA-4B7B-B201-0A406A05CAD2}" destId="{EEE5F45C-B2C8-41B8-BDE7-E14146B6438C}" srcOrd="14" destOrd="0" presId="urn:microsoft.com/office/officeart/2008/layout/VerticalCurvedList"/>
    <dgm:cxn modelId="{ACAC284E-58AB-4A2F-899A-0E7AEAA11D13}" type="presParOf" srcId="{EEE5F45C-B2C8-41B8-BDE7-E14146B6438C}" destId="{E3F2224B-B766-4EE7-96DD-292C5A03119D}" srcOrd="0" destOrd="0" presId="urn:microsoft.com/office/officeart/2008/layout/VerticalCurvedList"/>
  </dgm:cxnLst>
  <dgm:bg/>
  <dgm:whole/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: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dirty="0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dirty="0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dirty="0" smtClean="0"/>
            <a:t>Pot de l'amitié</a:t>
          </a:r>
          <a:endParaRPr lang="fr-FR" dirty="0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27AD9132-59B1-4EFF-966B-C898F3E4E8A3}" type="presOf" srcId="{2950704D-F612-46DF-93DB-38562274CE0A}" destId="{CD0934E8-FFC7-4C4F-89BE-AC8E748C473B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B8B149BB-B1F5-4EA9-84DC-2946A91DE549}" type="presOf" srcId="{699445AF-5A04-47F7-878E-3F17D893EA9D}" destId="{7CCCBC3E-A548-477F-AB4A-CF7F4D57704E}" srcOrd="0" destOrd="0" presId="urn:microsoft.com/office/officeart/2008/layout/VerticalCurvedList"/>
    <dgm:cxn modelId="{951488F4-8EEB-4563-B7E4-BAEECD6A8715}" type="presOf" srcId="{B9A48CF8-D428-45D1-8969-FBBF15BE7DBA}" destId="{B33E6E9D-CEE0-4253-A8E7-0BD98EFB662C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29F3564F-7642-404E-B1CF-2D368632C873}" type="presOf" srcId="{445F633E-575C-4AF5-92DD-A71CC7C927A2}" destId="{08F89A7F-2AF5-4371-8B52-FA6479DF35C0}" srcOrd="0" destOrd="0" presId="urn:microsoft.com/office/officeart/2008/layout/VerticalCurvedList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4349B0F9-D442-44C3-862F-78723677F880}" type="presOf" srcId="{E81A0284-562D-4965-817B-B98B89BD7A12}" destId="{FB08870E-FF0D-4C93-98E3-73F93153C9A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440AD766-76A0-4E71-90F4-919AE95ACCB6}" type="presOf" srcId="{F562CD0B-E8EB-4DBC-82FD-4F9ECF32E366}" destId="{6940BDDF-1FEF-41BF-B9E9-0FFE3926A970}" srcOrd="0" destOrd="0" presId="urn:microsoft.com/office/officeart/2008/layout/VerticalCurvedList"/>
    <dgm:cxn modelId="{DD9AFD6F-8170-4031-BCBB-EA871E0BE04C}" type="presOf" srcId="{EDB31ED3-0E8F-4401-8F1C-3B18C9A8633A}" destId="{8126DCD3-7CB9-48CE-9320-BD9FFB148001}" srcOrd="0" destOrd="0" presId="urn:microsoft.com/office/officeart/2008/layout/VerticalCurvedList"/>
    <dgm:cxn modelId="{92F9046B-CED7-4D48-BBE3-5F97A8508FE1}" type="presOf" srcId="{F010CF21-4A6D-44EF-A02C-3D5169816247}" destId="{08449366-2565-4365-85A6-6FD21C00BC0F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0363A205-9CD6-48D7-ACD7-3ECEF9062539}" type="presOf" srcId="{59788018-3182-43A3-8988-94BE0745A02A}" destId="{54C74578-773C-4297-A4DE-1398F67BB91C}" srcOrd="0" destOrd="0" presId="urn:microsoft.com/office/officeart/2008/layout/VerticalCurvedList"/>
    <dgm:cxn modelId="{0329E5DC-ABDE-4279-9D02-9485686C2599}" type="presParOf" srcId="{08449366-2565-4365-85A6-6FD21C00BC0F}" destId="{43AFC4E7-46DA-4B7B-B201-0A406A05CAD2}" srcOrd="0" destOrd="0" presId="urn:microsoft.com/office/officeart/2008/layout/VerticalCurvedList"/>
    <dgm:cxn modelId="{EBDD3405-6E47-4969-B69A-C2D1C5230672}" type="presParOf" srcId="{43AFC4E7-46DA-4B7B-B201-0A406A05CAD2}" destId="{C89A3969-C068-41DF-977E-ED5F7B6D0CE6}" srcOrd="0" destOrd="0" presId="urn:microsoft.com/office/officeart/2008/layout/VerticalCurvedList"/>
    <dgm:cxn modelId="{12C15CFF-A9BA-4A96-B6AE-A4DD8E573661}" type="presParOf" srcId="{C89A3969-C068-41DF-977E-ED5F7B6D0CE6}" destId="{36B09AF6-20B6-459B-86E4-BA1ECCD29B61}" srcOrd="0" destOrd="0" presId="urn:microsoft.com/office/officeart/2008/layout/VerticalCurvedList"/>
    <dgm:cxn modelId="{EB350316-80CE-4EBC-BC7A-52A76CB67235}" type="presParOf" srcId="{C89A3969-C068-41DF-977E-ED5F7B6D0CE6}" destId="{6940BDDF-1FEF-41BF-B9E9-0FFE3926A970}" srcOrd="1" destOrd="0" presId="urn:microsoft.com/office/officeart/2008/layout/VerticalCurvedList"/>
    <dgm:cxn modelId="{2A56F766-1B98-497D-95B7-C0D5304D8E7D}" type="presParOf" srcId="{C89A3969-C068-41DF-977E-ED5F7B6D0CE6}" destId="{CF948C64-B606-46D3-AF0E-5C95CC7F1D42}" srcOrd="2" destOrd="0" presId="urn:microsoft.com/office/officeart/2008/layout/VerticalCurvedList"/>
    <dgm:cxn modelId="{AD805393-3064-4CB7-83EE-5A320CDBE328}" type="presParOf" srcId="{C89A3969-C068-41DF-977E-ED5F7B6D0CE6}" destId="{4485BF69-EF87-4AEE-AFDF-DE2F8D2ACCD9}" srcOrd="3" destOrd="0" presId="urn:microsoft.com/office/officeart/2008/layout/VerticalCurvedList"/>
    <dgm:cxn modelId="{993E5E62-186B-44EE-A676-DA386F79CBFE}" type="presParOf" srcId="{43AFC4E7-46DA-4B7B-B201-0A406A05CAD2}" destId="{54C74578-773C-4297-A4DE-1398F67BB91C}" srcOrd="1" destOrd="0" presId="urn:microsoft.com/office/officeart/2008/layout/VerticalCurvedList"/>
    <dgm:cxn modelId="{36383840-B0D9-47FC-9E2F-9F4DC3A8A699}" type="presParOf" srcId="{43AFC4E7-46DA-4B7B-B201-0A406A05CAD2}" destId="{10D97C5B-BA88-4603-BEB8-816B9E26E1E0}" srcOrd="2" destOrd="0" presId="urn:microsoft.com/office/officeart/2008/layout/VerticalCurvedList"/>
    <dgm:cxn modelId="{32452EB7-61DC-439F-B7F9-CD96FC5ACD59}" type="presParOf" srcId="{10D97C5B-BA88-4603-BEB8-816B9E26E1E0}" destId="{EBBCF617-4DDB-47D0-98C7-99413FA904B7}" srcOrd="0" destOrd="0" presId="urn:microsoft.com/office/officeart/2008/layout/VerticalCurvedList"/>
    <dgm:cxn modelId="{CF7E9D28-C07E-4D24-9A4E-26F56C7B44F0}" type="presParOf" srcId="{43AFC4E7-46DA-4B7B-B201-0A406A05CAD2}" destId="{B33E6E9D-CEE0-4253-A8E7-0BD98EFB662C}" srcOrd="3" destOrd="0" presId="urn:microsoft.com/office/officeart/2008/layout/VerticalCurvedList"/>
    <dgm:cxn modelId="{8B15B421-413C-4398-9CFC-EB2FE863EC8C}" type="presParOf" srcId="{43AFC4E7-46DA-4B7B-B201-0A406A05CAD2}" destId="{0C3100F7-B06F-4D61-8952-72DDA3F196CC}" srcOrd="4" destOrd="0" presId="urn:microsoft.com/office/officeart/2008/layout/VerticalCurvedList"/>
    <dgm:cxn modelId="{10E9E78D-BE8A-4B07-B91B-49ED764429CE}" type="presParOf" srcId="{0C3100F7-B06F-4D61-8952-72DDA3F196CC}" destId="{7A113706-4115-4E46-A0DB-BB2E4C947383}" srcOrd="0" destOrd="0" presId="urn:microsoft.com/office/officeart/2008/layout/VerticalCurvedList"/>
    <dgm:cxn modelId="{DD592AB1-11AE-474A-BED1-C97F8E56FDBD}" type="presParOf" srcId="{43AFC4E7-46DA-4B7B-B201-0A406A05CAD2}" destId="{CD0934E8-FFC7-4C4F-89BE-AC8E748C473B}" srcOrd="5" destOrd="0" presId="urn:microsoft.com/office/officeart/2008/layout/VerticalCurvedList"/>
    <dgm:cxn modelId="{711370BF-1E1D-42DD-95B7-9D517BDE1547}" type="presParOf" srcId="{43AFC4E7-46DA-4B7B-B201-0A406A05CAD2}" destId="{E9561BC4-D00A-48CE-8C8A-EEF31BA7E3DC}" srcOrd="6" destOrd="0" presId="urn:microsoft.com/office/officeart/2008/layout/VerticalCurvedList"/>
    <dgm:cxn modelId="{39EA080B-5657-48B9-8357-8B1CAED6D971}" type="presParOf" srcId="{E9561BC4-D00A-48CE-8C8A-EEF31BA7E3DC}" destId="{0692BF8D-B063-4580-8A2D-225A14481CCD}" srcOrd="0" destOrd="0" presId="urn:microsoft.com/office/officeart/2008/layout/VerticalCurvedList"/>
    <dgm:cxn modelId="{51C155FA-90DF-4F46-9187-74626956FA2E}" type="presParOf" srcId="{43AFC4E7-46DA-4B7B-B201-0A406A05CAD2}" destId="{7CCCBC3E-A548-477F-AB4A-CF7F4D57704E}" srcOrd="7" destOrd="0" presId="urn:microsoft.com/office/officeart/2008/layout/VerticalCurvedList"/>
    <dgm:cxn modelId="{76C077BE-1AE0-4D59-91CC-14AA656FDD88}" type="presParOf" srcId="{43AFC4E7-46DA-4B7B-B201-0A406A05CAD2}" destId="{52AAC49D-EBED-4268-8D76-691EE33A579D}" srcOrd="8" destOrd="0" presId="urn:microsoft.com/office/officeart/2008/layout/VerticalCurvedList"/>
    <dgm:cxn modelId="{C5DDF5FE-C5A8-4F10-B6FF-AC17EBE79068}" type="presParOf" srcId="{52AAC49D-EBED-4268-8D76-691EE33A579D}" destId="{153D8280-B34C-4997-89AD-DE892539C6A1}" srcOrd="0" destOrd="0" presId="urn:microsoft.com/office/officeart/2008/layout/VerticalCurvedList"/>
    <dgm:cxn modelId="{C716C045-AB75-43DB-B3C3-236E94E2E917}" type="presParOf" srcId="{43AFC4E7-46DA-4B7B-B201-0A406A05CAD2}" destId="{08F89A7F-2AF5-4371-8B52-FA6479DF35C0}" srcOrd="9" destOrd="0" presId="urn:microsoft.com/office/officeart/2008/layout/VerticalCurvedList"/>
    <dgm:cxn modelId="{538E3623-7926-4D82-904A-DD0A195E92AE}" type="presParOf" srcId="{43AFC4E7-46DA-4B7B-B201-0A406A05CAD2}" destId="{F13EF3DA-EB59-4531-832A-CE6769FB357E}" srcOrd="10" destOrd="0" presId="urn:microsoft.com/office/officeart/2008/layout/VerticalCurvedList"/>
    <dgm:cxn modelId="{CA7B9C03-B0C9-4D4A-A8C2-6FCF7B84A8EC}" type="presParOf" srcId="{F13EF3DA-EB59-4531-832A-CE6769FB357E}" destId="{1CAC461D-769E-43F1-85D8-A86E37EE9368}" srcOrd="0" destOrd="0" presId="urn:microsoft.com/office/officeart/2008/layout/VerticalCurvedList"/>
    <dgm:cxn modelId="{03869A97-AABD-4333-AC66-598F4C253C00}" type="presParOf" srcId="{43AFC4E7-46DA-4B7B-B201-0A406A05CAD2}" destId="{8126DCD3-7CB9-48CE-9320-BD9FFB148001}" srcOrd="11" destOrd="0" presId="urn:microsoft.com/office/officeart/2008/layout/VerticalCurvedList"/>
    <dgm:cxn modelId="{1926F15E-D2F7-4D7E-85F8-6B1968D41183}" type="presParOf" srcId="{43AFC4E7-46DA-4B7B-B201-0A406A05CAD2}" destId="{547E224F-A6EA-4836-A3FF-8F1216A753A0}" srcOrd="12" destOrd="0" presId="urn:microsoft.com/office/officeart/2008/layout/VerticalCurvedList"/>
    <dgm:cxn modelId="{8CEAEF97-BC16-4A33-AC34-9EB582838C05}" type="presParOf" srcId="{547E224F-A6EA-4836-A3FF-8F1216A753A0}" destId="{8C00D473-19AF-4CDA-AA78-6937BED59218}" srcOrd="0" destOrd="0" presId="urn:microsoft.com/office/officeart/2008/layout/VerticalCurvedList"/>
    <dgm:cxn modelId="{B223B504-625C-4F3D-94C3-A2BCD82D552E}" type="presParOf" srcId="{43AFC4E7-46DA-4B7B-B201-0A406A05CAD2}" destId="{FB08870E-FF0D-4C93-98E3-73F93153C9AC}" srcOrd="13" destOrd="0" presId="urn:microsoft.com/office/officeart/2008/layout/VerticalCurvedList"/>
    <dgm:cxn modelId="{C0031A88-9EF3-4BAA-B173-F11F7BC7E06C}" type="presParOf" srcId="{43AFC4E7-46DA-4B7B-B201-0A406A05CAD2}" destId="{EEE5F45C-B2C8-41B8-BDE7-E14146B6438C}" srcOrd="14" destOrd="0" presId="urn:microsoft.com/office/officeart/2008/layout/VerticalCurvedList"/>
    <dgm:cxn modelId="{32C5BFF2-B377-4FC3-B7AC-5E845651F740}" type="presParOf" srcId="{EEE5F45C-B2C8-41B8-BDE7-E14146B6438C}" destId="{E3F2224B-B766-4EE7-96DD-292C5A03119D}" srcOrd="0" destOrd="0" presId="urn:microsoft.com/office/officeart/2008/layout/VerticalCurvedList"/>
  </dgm:cxnLst>
  <dgm:bg/>
  <dgm:whole/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DC6C26B-5C44-4280-9EB3-068FD976E08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DE3086-D6B2-489F-AF48-8912E4EC9D72}">
      <dgm:prSet phldrT="[Texte]"/>
      <dgm:spPr/>
      <dgm:t>
        <a:bodyPr/>
        <a:lstStyle/>
        <a:p>
          <a:r>
            <a:rPr lang="fr-FR" dirty="0" smtClean="0"/>
            <a:t>Elus d’HERBLAY</a:t>
          </a:r>
          <a:endParaRPr lang="fr-FR" dirty="0"/>
        </a:p>
      </dgm:t>
    </dgm:pt>
    <dgm:pt modelId="{518E41D5-5D2B-48D8-8E50-947DB28AEA31}" type="parTrans" cxnId="{70917F5B-0E35-4A2A-88D5-B45EBFE53C87}">
      <dgm:prSet/>
      <dgm:spPr/>
      <dgm:t>
        <a:bodyPr/>
        <a:lstStyle/>
        <a:p>
          <a:endParaRPr lang="fr-FR"/>
        </a:p>
      </dgm:t>
    </dgm:pt>
    <dgm:pt modelId="{0DB38E35-C61B-4A48-A372-8FCB75FC5BF9}" type="sibTrans" cxnId="{70917F5B-0E35-4A2A-88D5-B45EBFE53C87}">
      <dgm:prSet/>
      <dgm:spPr/>
      <dgm:t>
        <a:bodyPr/>
        <a:lstStyle/>
        <a:p>
          <a:endParaRPr lang="fr-FR"/>
        </a:p>
      </dgm:t>
    </dgm:pt>
    <dgm:pt modelId="{E7A6D2EE-2FCB-4C10-9D9D-5E61B8C49FEA}">
      <dgm:prSet phldrT="[Texte]"/>
      <dgm:spPr/>
      <dgm:t>
        <a:bodyPr/>
        <a:lstStyle/>
        <a:p>
          <a:r>
            <a:rPr lang="fr-FR" dirty="0" smtClean="0"/>
            <a:t>Services de la Ville</a:t>
          </a:r>
          <a:endParaRPr lang="fr-FR" dirty="0"/>
        </a:p>
      </dgm:t>
    </dgm:pt>
    <dgm:pt modelId="{BBD1B47A-8210-403D-BF33-68BE3F794F6C}" type="parTrans" cxnId="{D445F18D-47F2-42BB-8B52-64A8552A8B9C}">
      <dgm:prSet/>
      <dgm:spPr/>
      <dgm:t>
        <a:bodyPr/>
        <a:lstStyle/>
        <a:p>
          <a:endParaRPr lang="fr-FR"/>
        </a:p>
      </dgm:t>
    </dgm:pt>
    <dgm:pt modelId="{72B07F42-027A-4A6E-B634-2079767EC72A}" type="sibTrans" cxnId="{D445F18D-47F2-42BB-8B52-64A8552A8B9C}">
      <dgm:prSet/>
      <dgm:spPr/>
      <dgm:t>
        <a:bodyPr/>
        <a:lstStyle/>
        <a:p>
          <a:endParaRPr lang="fr-FR"/>
        </a:p>
      </dgm:t>
    </dgm:pt>
    <dgm:pt modelId="{12779662-B3F8-4710-ADEE-2BEA2DF93632}">
      <dgm:prSet phldrT="[Texte]"/>
      <dgm:spPr/>
      <dgm:t>
        <a:bodyPr/>
        <a:lstStyle/>
        <a:p>
          <a:r>
            <a:rPr lang="fr-FR" dirty="0" smtClean="0"/>
            <a:t>Adhérents</a:t>
          </a:r>
          <a:endParaRPr lang="fr-FR" dirty="0"/>
        </a:p>
      </dgm:t>
    </dgm:pt>
    <dgm:pt modelId="{D4F53988-095A-4099-876F-C0E3C417E2EE}" type="parTrans" cxnId="{5A588D24-8742-462B-832A-01DBF8789EEB}">
      <dgm:prSet/>
      <dgm:spPr/>
      <dgm:t>
        <a:bodyPr/>
        <a:lstStyle/>
        <a:p>
          <a:endParaRPr lang="fr-FR"/>
        </a:p>
      </dgm:t>
    </dgm:pt>
    <dgm:pt modelId="{3C5701BA-391C-4E91-B535-08C709BB89B9}" type="sibTrans" cxnId="{5A588D24-8742-462B-832A-01DBF8789EEB}">
      <dgm:prSet/>
      <dgm:spPr/>
      <dgm:t>
        <a:bodyPr/>
        <a:lstStyle/>
        <a:p>
          <a:endParaRPr lang="fr-FR"/>
        </a:p>
      </dgm:t>
    </dgm:pt>
    <dgm:pt modelId="{5620B244-DBE7-4A4A-826A-3DF264E26B6A}">
      <dgm:prSet phldrT="[Texte]"/>
      <dgm:spPr/>
      <dgm:t>
        <a:bodyPr/>
        <a:lstStyle/>
        <a:p>
          <a:r>
            <a:rPr lang="fr-FR" dirty="0" smtClean="0"/>
            <a:t>Parents</a:t>
          </a:r>
          <a:endParaRPr lang="fr-FR" dirty="0"/>
        </a:p>
      </dgm:t>
    </dgm:pt>
    <dgm:pt modelId="{8DB123A2-1991-4953-81F2-50DECC9648E8}" type="parTrans" cxnId="{9ACAEA0C-ADB2-4872-8214-A15F755124E9}">
      <dgm:prSet/>
      <dgm:spPr/>
      <dgm:t>
        <a:bodyPr/>
        <a:lstStyle/>
        <a:p>
          <a:endParaRPr lang="fr-FR"/>
        </a:p>
      </dgm:t>
    </dgm:pt>
    <dgm:pt modelId="{D2D4532C-0577-4870-BC45-0D10B9E1D07C}" type="sibTrans" cxnId="{9ACAEA0C-ADB2-4872-8214-A15F755124E9}">
      <dgm:prSet/>
      <dgm:spPr/>
      <dgm:t>
        <a:bodyPr/>
        <a:lstStyle/>
        <a:p>
          <a:endParaRPr lang="fr-FR"/>
        </a:p>
      </dgm:t>
    </dgm:pt>
    <dgm:pt modelId="{736A51FE-E49C-4364-B07D-F2DCF4CCE02A}">
      <dgm:prSet phldrT="[Texte]"/>
      <dgm:spPr/>
      <dgm:t>
        <a:bodyPr/>
        <a:lstStyle/>
        <a:p>
          <a:r>
            <a:rPr lang="fr-FR" dirty="0" smtClean="0"/>
            <a:t>Administrateurs</a:t>
          </a:r>
          <a:endParaRPr lang="fr-FR" dirty="0"/>
        </a:p>
      </dgm:t>
    </dgm:pt>
    <dgm:pt modelId="{9BD0F94A-E92D-4CFC-86E9-336B2726AA72}" type="parTrans" cxnId="{49D361BB-904D-4A63-A864-A0BB629E1680}">
      <dgm:prSet/>
      <dgm:spPr/>
      <dgm:t>
        <a:bodyPr/>
        <a:lstStyle/>
        <a:p>
          <a:endParaRPr lang="fr-FR"/>
        </a:p>
      </dgm:t>
    </dgm:pt>
    <dgm:pt modelId="{EBA875C8-72DE-4222-8785-4A7F700EC9EB}" type="sibTrans" cxnId="{49D361BB-904D-4A63-A864-A0BB629E1680}">
      <dgm:prSet/>
      <dgm:spPr/>
      <dgm:t>
        <a:bodyPr/>
        <a:lstStyle/>
        <a:p>
          <a:endParaRPr lang="fr-FR"/>
        </a:p>
      </dgm:t>
    </dgm:pt>
    <dgm:pt modelId="{39CCAA7F-6CDD-4354-BD99-351D389C805C}">
      <dgm:prSet phldrT="[Texte]"/>
      <dgm:spPr/>
      <dgm:t>
        <a:bodyPr/>
        <a:lstStyle/>
        <a:p>
          <a:r>
            <a:rPr lang="fr-FR" dirty="0" smtClean="0"/>
            <a:t>Entraineurs</a:t>
          </a:r>
          <a:endParaRPr lang="fr-FR" dirty="0"/>
        </a:p>
      </dgm:t>
    </dgm:pt>
    <dgm:pt modelId="{088D8D5D-7351-46EE-B165-94AFAEBC488B}" type="parTrans" cxnId="{42911385-04BA-4C71-B49F-D88C4269E79D}">
      <dgm:prSet/>
      <dgm:spPr/>
      <dgm:t>
        <a:bodyPr/>
        <a:lstStyle/>
        <a:p>
          <a:endParaRPr lang="fr-FR"/>
        </a:p>
      </dgm:t>
    </dgm:pt>
    <dgm:pt modelId="{E8963229-82B5-49B6-B512-D8E2E27F30DF}" type="sibTrans" cxnId="{42911385-04BA-4C71-B49F-D88C4269E79D}">
      <dgm:prSet/>
      <dgm:spPr/>
      <dgm:t>
        <a:bodyPr/>
        <a:lstStyle/>
        <a:p>
          <a:endParaRPr lang="fr-FR"/>
        </a:p>
      </dgm:t>
    </dgm:pt>
    <dgm:pt modelId="{54FD7199-B395-4937-BD68-E4F9BC35B2BC}" type="pres">
      <dgm:prSet presAssocID="{DDC6C26B-5C44-4280-9EB3-068FD976E08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644DDD9-B6F8-4655-8D8B-43C9D6CB8B31}" type="pres">
      <dgm:prSet presAssocID="{96DE3086-D6B2-489F-AF48-8912E4EC9D7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630CB0D-5484-48AC-974A-7422A6AC5BE4}" type="pres">
      <dgm:prSet presAssocID="{96DE3086-D6B2-489F-AF48-8912E4EC9D72}" presName="spNode" presStyleCnt="0"/>
      <dgm:spPr/>
    </dgm:pt>
    <dgm:pt modelId="{6AC8799C-ECCB-4A46-BF36-CC5BC71CC2D7}" type="pres">
      <dgm:prSet presAssocID="{0DB38E35-C61B-4A48-A372-8FCB75FC5BF9}" presName="sibTrans" presStyleLbl="sibTrans1D1" presStyleIdx="0" presStyleCnt="6"/>
      <dgm:spPr/>
      <dgm:t>
        <a:bodyPr/>
        <a:lstStyle/>
        <a:p>
          <a:endParaRPr lang="fr-FR"/>
        </a:p>
      </dgm:t>
    </dgm:pt>
    <dgm:pt modelId="{3E5D2AD9-4686-49B8-B72A-27931EEEC98A}" type="pres">
      <dgm:prSet presAssocID="{E7A6D2EE-2FCB-4C10-9D9D-5E61B8C49FEA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4B0552B-2F5D-4824-9E58-DB9788997F5F}" type="pres">
      <dgm:prSet presAssocID="{E7A6D2EE-2FCB-4C10-9D9D-5E61B8C49FEA}" presName="spNode" presStyleCnt="0"/>
      <dgm:spPr/>
    </dgm:pt>
    <dgm:pt modelId="{51A1BF9F-D5BC-4532-A20E-C97178709D63}" type="pres">
      <dgm:prSet presAssocID="{72B07F42-027A-4A6E-B634-2079767EC72A}" presName="sibTrans" presStyleLbl="sibTrans1D1" presStyleIdx="1" presStyleCnt="6"/>
      <dgm:spPr/>
      <dgm:t>
        <a:bodyPr/>
        <a:lstStyle/>
        <a:p>
          <a:endParaRPr lang="fr-FR"/>
        </a:p>
      </dgm:t>
    </dgm:pt>
    <dgm:pt modelId="{BF2620E6-571C-4256-A0DD-CC7C9B162EE7}" type="pres">
      <dgm:prSet presAssocID="{12779662-B3F8-4710-ADEE-2BEA2DF93632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699870B-CD9B-4443-A7E1-C210A6347CB8}" type="pres">
      <dgm:prSet presAssocID="{12779662-B3F8-4710-ADEE-2BEA2DF93632}" presName="spNode" presStyleCnt="0"/>
      <dgm:spPr/>
    </dgm:pt>
    <dgm:pt modelId="{324CD12F-8702-4DB9-8B3A-D36E9C436545}" type="pres">
      <dgm:prSet presAssocID="{3C5701BA-391C-4E91-B535-08C709BB89B9}" presName="sibTrans" presStyleLbl="sibTrans1D1" presStyleIdx="2" presStyleCnt="6"/>
      <dgm:spPr/>
      <dgm:t>
        <a:bodyPr/>
        <a:lstStyle/>
        <a:p>
          <a:endParaRPr lang="fr-FR"/>
        </a:p>
      </dgm:t>
    </dgm:pt>
    <dgm:pt modelId="{4627FD45-330A-4CCC-BE37-47EB0B9CA3C6}" type="pres">
      <dgm:prSet presAssocID="{5620B244-DBE7-4A4A-826A-3DF264E26B6A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81771C6-EFE7-494B-ABD6-1D6046A39F0C}" type="pres">
      <dgm:prSet presAssocID="{5620B244-DBE7-4A4A-826A-3DF264E26B6A}" presName="spNode" presStyleCnt="0"/>
      <dgm:spPr/>
    </dgm:pt>
    <dgm:pt modelId="{B4F13D4D-1EA3-4EC5-9AFC-5CC99767EFE6}" type="pres">
      <dgm:prSet presAssocID="{D2D4532C-0577-4870-BC45-0D10B9E1D07C}" presName="sibTrans" presStyleLbl="sibTrans1D1" presStyleIdx="3" presStyleCnt="6"/>
      <dgm:spPr/>
      <dgm:t>
        <a:bodyPr/>
        <a:lstStyle/>
        <a:p>
          <a:endParaRPr lang="fr-FR"/>
        </a:p>
      </dgm:t>
    </dgm:pt>
    <dgm:pt modelId="{80F3756C-447B-44FC-A73B-DF4F06606C29}" type="pres">
      <dgm:prSet presAssocID="{736A51FE-E49C-4364-B07D-F2DCF4CCE02A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A892405-AF7C-4407-9E46-BC7586A9107A}" type="pres">
      <dgm:prSet presAssocID="{736A51FE-E49C-4364-B07D-F2DCF4CCE02A}" presName="spNode" presStyleCnt="0"/>
      <dgm:spPr/>
    </dgm:pt>
    <dgm:pt modelId="{98311ED8-5FE3-4118-B5BA-55D1B809ACD1}" type="pres">
      <dgm:prSet presAssocID="{EBA875C8-72DE-4222-8785-4A7F700EC9EB}" presName="sibTrans" presStyleLbl="sibTrans1D1" presStyleIdx="4" presStyleCnt="6"/>
      <dgm:spPr/>
      <dgm:t>
        <a:bodyPr/>
        <a:lstStyle/>
        <a:p>
          <a:endParaRPr lang="fr-FR"/>
        </a:p>
      </dgm:t>
    </dgm:pt>
    <dgm:pt modelId="{9EAF265E-4870-4BF1-B3C9-FE4520B01D93}" type="pres">
      <dgm:prSet presAssocID="{39CCAA7F-6CDD-4354-BD99-351D389C805C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CF3F03-CC1D-42F7-91C3-4C8A15DB21EF}" type="pres">
      <dgm:prSet presAssocID="{39CCAA7F-6CDD-4354-BD99-351D389C805C}" presName="spNode" presStyleCnt="0"/>
      <dgm:spPr/>
    </dgm:pt>
    <dgm:pt modelId="{CEE12626-E5FE-44D1-A6FA-1003EBC65203}" type="pres">
      <dgm:prSet presAssocID="{E8963229-82B5-49B6-B512-D8E2E27F30DF}" presName="sibTrans" presStyleLbl="sibTrans1D1" presStyleIdx="5" presStyleCnt="6"/>
      <dgm:spPr/>
      <dgm:t>
        <a:bodyPr/>
        <a:lstStyle/>
        <a:p>
          <a:endParaRPr lang="fr-FR"/>
        </a:p>
      </dgm:t>
    </dgm:pt>
  </dgm:ptLst>
  <dgm:cxnLst>
    <dgm:cxn modelId="{5A588D24-8742-462B-832A-01DBF8789EEB}" srcId="{DDC6C26B-5C44-4280-9EB3-068FD976E089}" destId="{12779662-B3F8-4710-ADEE-2BEA2DF93632}" srcOrd="2" destOrd="0" parTransId="{D4F53988-095A-4099-876F-C0E3C417E2EE}" sibTransId="{3C5701BA-391C-4E91-B535-08C709BB89B9}"/>
    <dgm:cxn modelId="{B8EFA342-0827-4378-A3BF-BCA34B9FD6C7}" type="presOf" srcId="{DDC6C26B-5C44-4280-9EB3-068FD976E089}" destId="{54FD7199-B395-4937-BD68-E4F9BC35B2BC}" srcOrd="0" destOrd="0" presId="urn:microsoft.com/office/officeart/2005/8/layout/cycle6"/>
    <dgm:cxn modelId="{F6E4B6BD-ED47-4286-A6B3-43B96F53B182}" type="presOf" srcId="{3C5701BA-391C-4E91-B535-08C709BB89B9}" destId="{324CD12F-8702-4DB9-8B3A-D36E9C436545}" srcOrd="0" destOrd="0" presId="urn:microsoft.com/office/officeart/2005/8/layout/cycle6"/>
    <dgm:cxn modelId="{C5E53FDB-CF14-499A-8E4C-0AD388BB870A}" type="presOf" srcId="{E7A6D2EE-2FCB-4C10-9D9D-5E61B8C49FEA}" destId="{3E5D2AD9-4686-49B8-B72A-27931EEEC98A}" srcOrd="0" destOrd="0" presId="urn:microsoft.com/office/officeart/2005/8/layout/cycle6"/>
    <dgm:cxn modelId="{4AC64EB1-31AC-4A61-9E6F-A1699BF23627}" type="presOf" srcId="{EBA875C8-72DE-4222-8785-4A7F700EC9EB}" destId="{98311ED8-5FE3-4118-B5BA-55D1B809ACD1}" srcOrd="0" destOrd="0" presId="urn:microsoft.com/office/officeart/2005/8/layout/cycle6"/>
    <dgm:cxn modelId="{9ACAEA0C-ADB2-4872-8214-A15F755124E9}" srcId="{DDC6C26B-5C44-4280-9EB3-068FD976E089}" destId="{5620B244-DBE7-4A4A-826A-3DF264E26B6A}" srcOrd="3" destOrd="0" parTransId="{8DB123A2-1991-4953-81F2-50DECC9648E8}" sibTransId="{D2D4532C-0577-4870-BC45-0D10B9E1D07C}"/>
    <dgm:cxn modelId="{0D1D7338-7175-4B27-835C-EA9A2F427A20}" type="presOf" srcId="{72B07F42-027A-4A6E-B634-2079767EC72A}" destId="{51A1BF9F-D5BC-4532-A20E-C97178709D63}" srcOrd="0" destOrd="0" presId="urn:microsoft.com/office/officeart/2005/8/layout/cycle6"/>
    <dgm:cxn modelId="{9CEE18CD-D4B4-4018-93E8-A6883CD23CEB}" type="presOf" srcId="{E8963229-82B5-49B6-B512-D8E2E27F30DF}" destId="{CEE12626-E5FE-44D1-A6FA-1003EBC65203}" srcOrd="0" destOrd="0" presId="urn:microsoft.com/office/officeart/2005/8/layout/cycle6"/>
    <dgm:cxn modelId="{D445F18D-47F2-42BB-8B52-64A8552A8B9C}" srcId="{DDC6C26B-5C44-4280-9EB3-068FD976E089}" destId="{E7A6D2EE-2FCB-4C10-9D9D-5E61B8C49FEA}" srcOrd="1" destOrd="0" parTransId="{BBD1B47A-8210-403D-BF33-68BE3F794F6C}" sibTransId="{72B07F42-027A-4A6E-B634-2079767EC72A}"/>
    <dgm:cxn modelId="{42911385-04BA-4C71-B49F-D88C4269E79D}" srcId="{DDC6C26B-5C44-4280-9EB3-068FD976E089}" destId="{39CCAA7F-6CDD-4354-BD99-351D389C805C}" srcOrd="5" destOrd="0" parTransId="{088D8D5D-7351-46EE-B165-94AFAEBC488B}" sibTransId="{E8963229-82B5-49B6-B512-D8E2E27F30DF}"/>
    <dgm:cxn modelId="{49D361BB-904D-4A63-A864-A0BB629E1680}" srcId="{DDC6C26B-5C44-4280-9EB3-068FD976E089}" destId="{736A51FE-E49C-4364-B07D-F2DCF4CCE02A}" srcOrd="4" destOrd="0" parTransId="{9BD0F94A-E92D-4CFC-86E9-336B2726AA72}" sibTransId="{EBA875C8-72DE-4222-8785-4A7F700EC9EB}"/>
    <dgm:cxn modelId="{3DD7CE7B-9F52-449A-A70B-A1A8785BFDC0}" type="presOf" srcId="{12779662-B3F8-4710-ADEE-2BEA2DF93632}" destId="{BF2620E6-571C-4256-A0DD-CC7C9B162EE7}" srcOrd="0" destOrd="0" presId="urn:microsoft.com/office/officeart/2005/8/layout/cycle6"/>
    <dgm:cxn modelId="{6BED1BD3-2264-41F1-8424-1BF612C770E4}" type="presOf" srcId="{96DE3086-D6B2-489F-AF48-8912E4EC9D72}" destId="{D644DDD9-B6F8-4655-8D8B-43C9D6CB8B31}" srcOrd="0" destOrd="0" presId="urn:microsoft.com/office/officeart/2005/8/layout/cycle6"/>
    <dgm:cxn modelId="{70917F5B-0E35-4A2A-88D5-B45EBFE53C87}" srcId="{DDC6C26B-5C44-4280-9EB3-068FD976E089}" destId="{96DE3086-D6B2-489F-AF48-8912E4EC9D72}" srcOrd="0" destOrd="0" parTransId="{518E41D5-5D2B-48D8-8E50-947DB28AEA31}" sibTransId="{0DB38E35-C61B-4A48-A372-8FCB75FC5BF9}"/>
    <dgm:cxn modelId="{50F4AC5D-856B-450E-92ED-DBAC53E603B0}" type="presOf" srcId="{736A51FE-E49C-4364-B07D-F2DCF4CCE02A}" destId="{80F3756C-447B-44FC-A73B-DF4F06606C29}" srcOrd="0" destOrd="0" presId="urn:microsoft.com/office/officeart/2005/8/layout/cycle6"/>
    <dgm:cxn modelId="{7B65C531-FFE7-4E3A-8A9A-35C3CB3C21C8}" type="presOf" srcId="{D2D4532C-0577-4870-BC45-0D10B9E1D07C}" destId="{B4F13D4D-1EA3-4EC5-9AFC-5CC99767EFE6}" srcOrd="0" destOrd="0" presId="urn:microsoft.com/office/officeart/2005/8/layout/cycle6"/>
    <dgm:cxn modelId="{3DDF9ABB-0C0F-499C-938E-E80E9FDCAF9D}" type="presOf" srcId="{5620B244-DBE7-4A4A-826A-3DF264E26B6A}" destId="{4627FD45-330A-4CCC-BE37-47EB0B9CA3C6}" srcOrd="0" destOrd="0" presId="urn:microsoft.com/office/officeart/2005/8/layout/cycle6"/>
    <dgm:cxn modelId="{E4ACB6CF-9AA6-48CF-8DE5-1F7032095B56}" type="presOf" srcId="{0DB38E35-C61B-4A48-A372-8FCB75FC5BF9}" destId="{6AC8799C-ECCB-4A46-BF36-CC5BC71CC2D7}" srcOrd="0" destOrd="0" presId="urn:microsoft.com/office/officeart/2005/8/layout/cycle6"/>
    <dgm:cxn modelId="{36E9852F-760D-4879-BA21-65CFB3291208}" type="presOf" srcId="{39CCAA7F-6CDD-4354-BD99-351D389C805C}" destId="{9EAF265E-4870-4BF1-B3C9-FE4520B01D93}" srcOrd="0" destOrd="0" presId="urn:microsoft.com/office/officeart/2005/8/layout/cycle6"/>
    <dgm:cxn modelId="{E66C76A8-3C23-4A9A-A508-554A4AFAAB23}" type="presParOf" srcId="{54FD7199-B395-4937-BD68-E4F9BC35B2BC}" destId="{D644DDD9-B6F8-4655-8D8B-43C9D6CB8B31}" srcOrd="0" destOrd="0" presId="urn:microsoft.com/office/officeart/2005/8/layout/cycle6"/>
    <dgm:cxn modelId="{C10EC0EC-88A3-49FD-B7DA-C8C5A17E1D53}" type="presParOf" srcId="{54FD7199-B395-4937-BD68-E4F9BC35B2BC}" destId="{0630CB0D-5484-48AC-974A-7422A6AC5BE4}" srcOrd="1" destOrd="0" presId="urn:microsoft.com/office/officeart/2005/8/layout/cycle6"/>
    <dgm:cxn modelId="{19B10A98-4899-4CEF-82C7-704B58340B27}" type="presParOf" srcId="{54FD7199-B395-4937-BD68-E4F9BC35B2BC}" destId="{6AC8799C-ECCB-4A46-BF36-CC5BC71CC2D7}" srcOrd="2" destOrd="0" presId="urn:microsoft.com/office/officeart/2005/8/layout/cycle6"/>
    <dgm:cxn modelId="{FECC0461-0E78-4F81-86A5-1EB10A7CA085}" type="presParOf" srcId="{54FD7199-B395-4937-BD68-E4F9BC35B2BC}" destId="{3E5D2AD9-4686-49B8-B72A-27931EEEC98A}" srcOrd="3" destOrd="0" presId="urn:microsoft.com/office/officeart/2005/8/layout/cycle6"/>
    <dgm:cxn modelId="{96328A94-F657-4DB5-A099-9D4153F089DB}" type="presParOf" srcId="{54FD7199-B395-4937-BD68-E4F9BC35B2BC}" destId="{C4B0552B-2F5D-4824-9E58-DB9788997F5F}" srcOrd="4" destOrd="0" presId="urn:microsoft.com/office/officeart/2005/8/layout/cycle6"/>
    <dgm:cxn modelId="{766EBDEC-680F-4584-8DD0-B7C4159A6D6B}" type="presParOf" srcId="{54FD7199-B395-4937-BD68-E4F9BC35B2BC}" destId="{51A1BF9F-D5BC-4532-A20E-C97178709D63}" srcOrd="5" destOrd="0" presId="urn:microsoft.com/office/officeart/2005/8/layout/cycle6"/>
    <dgm:cxn modelId="{E2039CC3-5268-4FEC-BB7C-2E58B4C952E1}" type="presParOf" srcId="{54FD7199-B395-4937-BD68-E4F9BC35B2BC}" destId="{BF2620E6-571C-4256-A0DD-CC7C9B162EE7}" srcOrd="6" destOrd="0" presId="urn:microsoft.com/office/officeart/2005/8/layout/cycle6"/>
    <dgm:cxn modelId="{93C0031A-FE93-4EBD-AE19-500948B05026}" type="presParOf" srcId="{54FD7199-B395-4937-BD68-E4F9BC35B2BC}" destId="{5699870B-CD9B-4443-A7E1-C210A6347CB8}" srcOrd="7" destOrd="0" presId="urn:microsoft.com/office/officeart/2005/8/layout/cycle6"/>
    <dgm:cxn modelId="{AB2922B8-6793-4C1B-8ADA-DBA6F4F69DD4}" type="presParOf" srcId="{54FD7199-B395-4937-BD68-E4F9BC35B2BC}" destId="{324CD12F-8702-4DB9-8B3A-D36E9C436545}" srcOrd="8" destOrd="0" presId="urn:microsoft.com/office/officeart/2005/8/layout/cycle6"/>
    <dgm:cxn modelId="{49E94434-CC45-4A86-827A-0AD0E4C375CA}" type="presParOf" srcId="{54FD7199-B395-4937-BD68-E4F9BC35B2BC}" destId="{4627FD45-330A-4CCC-BE37-47EB0B9CA3C6}" srcOrd="9" destOrd="0" presId="urn:microsoft.com/office/officeart/2005/8/layout/cycle6"/>
    <dgm:cxn modelId="{32E833ED-9993-4EE5-B5E9-338B92F793FF}" type="presParOf" srcId="{54FD7199-B395-4937-BD68-E4F9BC35B2BC}" destId="{481771C6-EFE7-494B-ABD6-1D6046A39F0C}" srcOrd="10" destOrd="0" presId="urn:microsoft.com/office/officeart/2005/8/layout/cycle6"/>
    <dgm:cxn modelId="{A90D53D2-7BD0-4DAE-858D-6A5D0B1A2ED8}" type="presParOf" srcId="{54FD7199-B395-4937-BD68-E4F9BC35B2BC}" destId="{B4F13D4D-1EA3-4EC5-9AFC-5CC99767EFE6}" srcOrd="11" destOrd="0" presId="urn:microsoft.com/office/officeart/2005/8/layout/cycle6"/>
    <dgm:cxn modelId="{C2D83263-2805-4DAF-9F93-B996C5EEF1B8}" type="presParOf" srcId="{54FD7199-B395-4937-BD68-E4F9BC35B2BC}" destId="{80F3756C-447B-44FC-A73B-DF4F06606C29}" srcOrd="12" destOrd="0" presId="urn:microsoft.com/office/officeart/2005/8/layout/cycle6"/>
    <dgm:cxn modelId="{25451BC9-6A42-409E-A8B1-D88FA05D26A9}" type="presParOf" srcId="{54FD7199-B395-4937-BD68-E4F9BC35B2BC}" destId="{1A892405-AF7C-4407-9E46-BC7586A9107A}" srcOrd="13" destOrd="0" presId="urn:microsoft.com/office/officeart/2005/8/layout/cycle6"/>
    <dgm:cxn modelId="{4F371880-9719-44E2-903B-BB6A365F9BB4}" type="presParOf" srcId="{54FD7199-B395-4937-BD68-E4F9BC35B2BC}" destId="{98311ED8-5FE3-4118-B5BA-55D1B809ACD1}" srcOrd="14" destOrd="0" presId="urn:microsoft.com/office/officeart/2005/8/layout/cycle6"/>
    <dgm:cxn modelId="{A0987881-09E1-4635-8134-92911E88CAA1}" type="presParOf" srcId="{54FD7199-B395-4937-BD68-E4F9BC35B2BC}" destId="{9EAF265E-4870-4BF1-B3C9-FE4520B01D93}" srcOrd="15" destOrd="0" presId="urn:microsoft.com/office/officeart/2005/8/layout/cycle6"/>
    <dgm:cxn modelId="{E1F9E8B5-FD79-437A-B27C-C1BAD016BDC7}" type="presParOf" srcId="{54FD7199-B395-4937-BD68-E4F9BC35B2BC}" destId="{10CF3F03-CC1D-42F7-91C3-4C8A15DB21EF}" srcOrd="16" destOrd="0" presId="urn:microsoft.com/office/officeart/2005/8/layout/cycle6"/>
    <dgm:cxn modelId="{95BF162E-34FF-413E-B7ED-D5B9A1041022}" type="presParOf" srcId="{54FD7199-B395-4937-BD68-E4F9BC35B2BC}" destId="{CEE12626-E5FE-44D1-A6FA-1003EBC65203}" srcOrd="17" destOrd="0" presId="urn:microsoft.com/office/officeart/2005/8/layout/cycle6"/>
  </dgm:cxnLst>
  <dgm:bg/>
  <dgm:whole/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51DAA396-A801-49DA-AE23-1AA2A83B013D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48C8368-C569-459D-A571-3F5305781B33}">
      <dgm:prSet phldrT="[Texte]"/>
      <dgm:spPr/>
      <dgm:t>
        <a:bodyPr/>
        <a:lstStyle/>
        <a:p>
          <a:r>
            <a:rPr lang="fr-FR" dirty="0" smtClean="0"/>
            <a:t>Elus d’HERBLAY</a:t>
          </a:r>
          <a:endParaRPr lang="fr-FR" dirty="0"/>
        </a:p>
      </dgm:t>
    </dgm:pt>
    <dgm:pt modelId="{7BCF733E-1B7C-4594-BC07-B712BA256A10}" type="parTrans" cxnId="{47AD8C88-FE0E-4039-86E2-3EC5F9C8594C}">
      <dgm:prSet/>
      <dgm:spPr/>
      <dgm:t>
        <a:bodyPr/>
        <a:lstStyle/>
        <a:p>
          <a:endParaRPr lang="fr-FR"/>
        </a:p>
      </dgm:t>
    </dgm:pt>
    <dgm:pt modelId="{8BCB8AFF-4948-4A45-970F-3532DFCED254}" type="sibTrans" cxnId="{47AD8C88-FE0E-4039-86E2-3EC5F9C8594C}">
      <dgm:prSet/>
      <dgm:spPr/>
      <dgm:t>
        <a:bodyPr/>
        <a:lstStyle/>
        <a:p>
          <a:endParaRPr lang="fr-FR"/>
        </a:p>
      </dgm:t>
    </dgm:pt>
    <dgm:pt modelId="{86A968A3-7B90-4ACE-8B61-61E9F0438218}">
      <dgm:prSet phldrT="[Texte]"/>
      <dgm:spPr/>
      <dgm:t>
        <a:bodyPr/>
        <a:lstStyle/>
        <a:p>
          <a:r>
            <a:rPr lang="fr-FR" dirty="0" smtClean="0"/>
            <a:t>Services de la Mairie</a:t>
          </a:r>
          <a:endParaRPr lang="fr-FR" dirty="0"/>
        </a:p>
      </dgm:t>
    </dgm:pt>
    <dgm:pt modelId="{CC3F6BF5-CEF6-4BEF-9FAB-5F7F0089E130}" type="parTrans" cxnId="{88305ECB-9280-47B7-9613-5B4CAE4C80D4}">
      <dgm:prSet/>
      <dgm:spPr/>
      <dgm:t>
        <a:bodyPr/>
        <a:lstStyle/>
        <a:p>
          <a:endParaRPr lang="fr-FR"/>
        </a:p>
      </dgm:t>
    </dgm:pt>
    <dgm:pt modelId="{0C26BE65-3FC7-4802-9770-7F74A1CC6B30}" type="sibTrans" cxnId="{88305ECB-9280-47B7-9613-5B4CAE4C80D4}">
      <dgm:prSet/>
      <dgm:spPr/>
      <dgm:t>
        <a:bodyPr/>
        <a:lstStyle/>
        <a:p>
          <a:endParaRPr lang="fr-FR"/>
        </a:p>
      </dgm:t>
    </dgm:pt>
    <dgm:pt modelId="{1FED7931-BBCD-4420-BEF5-0E615409FB06}">
      <dgm:prSet phldrT="[Texte]"/>
      <dgm:spPr/>
      <dgm:t>
        <a:bodyPr/>
        <a:lstStyle/>
        <a:p>
          <a:r>
            <a:rPr lang="fr-FR" dirty="0" smtClean="0"/>
            <a:t>Adhérents</a:t>
          </a:r>
          <a:endParaRPr lang="fr-FR" dirty="0"/>
        </a:p>
      </dgm:t>
    </dgm:pt>
    <dgm:pt modelId="{E1CDC654-CC63-4AED-80A6-F170E7D96245}" type="parTrans" cxnId="{0D278476-0811-456C-8FBF-B129080914EC}">
      <dgm:prSet/>
      <dgm:spPr/>
      <dgm:t>
        <a:bodyPr/>
        <a:lstStyle/>
        <a:p>
          <a:endParaRPr lang="fr-FR"/>
        </a:p>
      </dgm:t>
    </dgm:pt>
    <dgm:pt modelId="{582C6CA8-FBD6-4DE2-BF8A-96F913845E6A}" type="sibTrans" cxnId="{0D278476-0811-456C-8FBF-B129080914EC}">
      <dgm:prSet/>
      <dgm:spPr/>
      <dgm:t>
        <a:bodyPr/>
        <a:lstStyle/>
        <a:p>
          <a:endParaRPr lang="fr-FR"/>
        </a:p>
      </dgm:t>
    </dgm:pt>
    <dgm:pt modelId="{533ADC81-779E-41CB-A251-E5D477AA55B1}">
      <dgm:prSet phldrT="[Texte]"/>
      <dgm:spPr/>
      <dgm:t>
        <a:bodyPr/>
        <a:lstStyle/>
        <a:p>
          <a:r>
            <a:rPr lang="fr-FR" dirty="0" smtClean="0"/>
            <a:t>Parents</a:t>
          </a:r>
          <a:endParaRPr lang="fr-FR" dirty="0"/>
        </a:p>
      </dgm:t>
    </dgm:pt>
    <dgm:pt modelId="{642031FD-7055-4C34-AE4F-44AFCDBFA963}" type="parTrans" cxnId="{6DA00451-0C7F-4825-9DB0-95FEC221E66A}">
      <dgm:prSet/>
      <dgm:spPr/>
      <dgm:t>
        <a:bodyPr/>
        <a:lstStyle/>
        <a:p>
          <a:endParaRPr lang="fr-FR"/>
        </a:p>
      </dgm:t>
    </dgm:pt>
    <dgm:pt modelId="{1A3936E6-73C4-49CC-A539-21AC1C9F4D3F}" type="sibTrans" cxnId="{6DA00451-0C7F-4825-9DB0-95FEC221E66A}">
      <dgm:prSet/>
      <dgm:spPr/>
      <dgm:t>
        <a:bodyPr/>
        <a:lstStyle/>
        <a:p>
          <a:endParaRPr lang="fr-FR"/>
        </a:p>
      </dgm:t>
    </dgm:pt>
    <dgm:pt modelId="{1FB9FE8E-29A3-460D-8B9B-88DCC1596074}">
      <dgm:prSet phldrT="[Texte]"/>
      <dgm:spPr/>
      <dgm:t>
        <a:bodyPr/>
        <a:lstStyle/>
        <a:p>
          <a:r>
            <a:rPr lang="fr-FR" dirty="0" smtClean="0"/>
            <a:t>Administrateurs</a:t>
          </a:r>
          <a:endParaRPr lang="fr-FR" dirty="0"/>
        </a:p>
      </dgm:t>
    </dgm:pt>
    <dgm:pt modelId="{789DD773-E780-42C2-B134-B8C98451FD8D}" type="parTrans" cxnId="{B4364929-77D3-497E-88A3-FFF42C705E6C}">
      <dgm:prSet/>
      <dgm:spPr/>
      <dgm:t>
        <a:bodyPr/>
        <a:lstStyle/>
        <a:p>
          <a:endParaRPr lang="fr-FR"/>
        </a:p>
      </dgm:t>
    </dgm:pt>
    <dgm:pt modelId="{7B024755-578C-4958-B086-23CD2FB1C5F0}" type="sibTrans" cxnId="{B4364929-77D3-497E-88A3-FFF42C705E6C}">
      <dgm:prSet/>
      <dgm:spPr/>
      <dgm:t>
        <a:bodyPr/>
        <a:lstStyle/>
        <a:p>
          <a:endParaRPr lang="fr-FR"/>
        </a:p>
      </dgm:t>
    </dgm:pt>
    <dgm:pt modelId="{72EF49FF-E7F9-417B-BB11-C0D22337DBBE}">
      <dgm:prSet phldrT="[Texte]"/>
      <dgm:spPr/>
      <dgm:t>
        <a:bodyPr/>
        <a:lstStyle/>
        <a:p>
          <a:r>
            <a:rPr lang="fr-FR" dirty="0" smtClean="0"/>
            <a:t>Entraîneurs</a:t>
          </a:r>
          <a:endParaRPr lang="fr-FR" dirty="0"/>
        </a:p>
      </dgm:t>
    </dgm:pt>
    <dgm:pt modelId="{B721961C-D15D-4F8B-9FBE-E292C2DC05E0}" type="parTrans" cxnId="{F528AFD2-42D4-4733-AD10-88D79BB31191}">
      <dgm:prSet/>
      <dgm:spPr/>
      <dgm:t>
        <a:bodyPr/>
        <a:lstStyle/>
        <a:p>
          <a:endParaRPr lang="fr-FR"/>
        </a:p>
      </dgm:t>
    </dgm:pt>
    <dgm:pt modelId="{62C3410B-DB23-494C-AC38-AC5DFB25EA33}" type="sibTrans" cxnId="{F528AFD2-42D4-4733-AD10-88D79BB31191}">
      <dgm:prSet/>
      <dgm:spPr/>
      <dgm:t>
        <a:bodyPr/>
        <a:lstStyle/>
        <a:p>
          <a:endParaRPr lang="fr-FR"/>
        </a:p>
      </dgm:t>
    </dgm:pt>
    <dgm:pt modelId="{E2D7D9ED-93C7-49B1-8E09-1EC7C55557FD}" type="pres">
      <dgm:prSet presAssocID="{51DAA396-A801-49DA-AE23-1AA2A83B013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2F71481-27A6-4804-8191-FA0515914C12}" type="pres">
      <dgm:prSet presAssocID="{948C8368-C569-459D-A571-3F5305781B33}" presName="node" presStyleLbl="node1" presStyleIdx="0" presStyleCnt="6" custScaleX="169957" custScaleY="104408" custRadScaleRad="111878" custRadScaleInc="2133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29EA765-86FD-4050-8BE7-9754E959E7EF}" type="pres">
      <dgm:prSet presAssocID="{948C8368-C569-459D-A571-3F5305781B33}" presName="spNode" presStyleCnt="0"/>
      <dgm:spPr/>
    </dgm:pt>
    <dgm:pt modelId="{C593AC9A-F2DB-44A9-AE8D-A5707C6B00EA}" type="pres">
      <dgm:prSet presAssocID="{8BCB8AFF-4948-4A45-970F-3532DFCED254}" presName="sibTrans" presStyleLbl="sibTrans1D1" presStyleIdx="0" presStyleCnt="6"/>
      <dgm:spPr/>
      <dgm:t>
        <a:bodyPr/>
        <a:lstStyle/>
        <a:p>
          <a:endParaRPr lang="fr-FR"/>
        </a:p>
      </dgm:t>
    </dgm:pt>
    <dgm:pt modelId="{C99F8B78-3536-497D-AD6E-209E6348C0D2}" type="pres">
      <dgm:prSet presAssocID="{86A968A3-7B90-4ACE-8B61-61E9F0438218}" presName="node" presStyleLbl="node1" presStyleIdx="1" presStyleCnt="6" custScaleX="175583" custScaleY="114174" custRadScaleRad="108231" custRadScaleInc="6095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545DD27-FA0B-4657-BC82-834872B9BBEB}" type="pres">
      <dgm:prSet presAssocID="{86A968A3-7B90-4ACE-8B61-61E9F0438218}" presName="spNode" presStyleCnt="0"/>
      <dgm:spPr/>
    </dgm:pt>
    <dgm:pt modelId="{83CF317A-9E01-4891-B9FB-8D6BF777D8C3}" type="pres">
      <dgm:prSet presAssocID="{0C26BE65-3FC7-4802-9770-7F74A1CC6B30}" presName="sibTrans" presStyleLbl="sibTrans1D1" presStyleIdx="1" presStyleCnt="6"/>
      <dgm:spPr/>
      <dgm:t>
        <a:bodyPr/>
        <a:lstStyle/>
        <a:p>
          <a:endParaRPr lang="fr-FR"/>
        </a:p>
      </dgm:t>
    </dgm:pt>
    <dgm:pt modelId="{52E7D78C-9227-4935-9D9B-C82B391071EC}" type="pres">
      <dgm:prSet presAssocID="{1FED7931-BBCD-4420-BEF5-0E615409FB06}" presName="node" presStyleLbl="node1" presStyleIdx="2" presStyleCnt="6" custScaleX="169957" custScaleY="104408" custRadScaleRad="147099" custRadScaleInc="-5254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5753139-3016-4A47-B37B-22892F3ABB43}" type="pres">
      <dgm:prSet presAssocID="{1FED7931-BBCD-4420-BEF5-0E615409FB06}" presName="spNode" presStyleCnt="0"/>
      <dgm:spPr/>
    </dgm:pt>
    <dgm:pt modelId="{AD0D34BD-3A75-4544-81EF-8C85BC46F164}" type="pres">
      <dgm:prSet presAssocID="{582C6CA8-FBD6-4DE2-BF8A-96F913845E6A}" presName="sibTrans" presStyleLbl="sibTrans1D1" presStyleIdx="2" presStyleCnt="6"/>
      <dgm:spPr/>
      <dgm:t>
        <a:bodyPr/>
        <a:lstStyle/>
        <a:p>
          <a:endParaRPr lang="fr-FR"/>
        </a:p>
      </dgm:t>
    </dgm:pt>
    <dgm:pt modelId="{D615C55B-1A9C-4CF4-B5E6-7BEE170074F0}" type="pres">
      <dgm:prSet presAssocID="{533ADC81-779E-41CB-A251-E5D477AA55B1}" presName="node" presStyleLbl="node1" presStyleIdx="3" presStyleCnt="6" custScaleX="169957" custScaleY="104408" custRadScaleRad="98170" custRadScaleInc="-2898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81015D2-347C-474D-A3EB-BDEA2CCE3F7A}" type="pres">
      <dgm:prSet presAssocID="{533ADC81-779E-41CB-A251-E5D477AA55B1}" presName="spNode" presStyleCnt="0"/>
      <dgm:spPr/>
    </dgm:pt>
    <dgm:pt modelId="{AB72F905-1360-427B-83BA-5EB635EB9976}" type="pres">
      <dgm:prSet presAssocID="{1A3936E6-73C4-49CC-A539-21AC1C9F4D3F}" presName="sibTrans" presStyleLbl="sibTrans1D1" presStyleIdx="3" presStyleCnt="6"/>
      <dgm:spPr/>
      <dgm:t>
        <a:bodyPr/>
        <a:lstStyle/>
        <a:p>
          <a:endParaRPr lang="fr-FR"/>
        </a:p>
      </dgm:t>
    </dgm:pt>
    <dgm:pt modelId="{DC080E75-3E8B-473D-A4E3-95D1B45B56A2}" type="pres">
      <dgm:prSet presAssocID="{1FB9FE8E-29A3-460D-8B9B-88DCC1596074}" presName="node" presStyleLbl="node1" presStyleIdx="4" presStyleCnt="6" custScaleX="169957" custScaleY="104408" custRadScaleRad="115783" custRadScaleInc="6666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E603B6-3B9B-4F26-89F9-64F4DADBF9BE}" type="pres">
      <dgm:prSet presAssocID="{1FB9FE8E-29A3-460D-8B9B-88DCC1596074}" presName="spNode" presStyleCnt="0"/>
      <dgm:spPr/>
    </dgm:pt>
    <dgm:pt modelId="{9033520A-E45D-4266-8FA1-9D82D1FFEFA2}" type="pres">
      <dgm:prSet presAssocID="{7B024755-578C-4958-B086-23CD2FB1C5F0}" presName="sibTrans" presStyleLbl="sibTrans1D1" presStyleIdx="4" presStyleCnt="6"/>
      <dgm:spPr/>
      <dgm:t>
        <a:bodyPr/>
        <a:lstStyle/>
        <a:p>
          <a:endParaRPr lang="fr-FR"/>
        </a:p>
      </dgm:t>
    </dgm:pt>
    <dgm:pt modelId="{62E1B408-8252-4591-8B70-230FFCC8C371}" type="pres">
      <dgm:prSet presAssocID="{72EF49FF-E7F9-417B-BB11-C0D22337DBBE}" presName="node" presStyleLbl="node1" presStyleIdx="5" presStyleCnt="6" custScaleX="169957" custScaleY="104408" custRadScaleRad="103672" custRadScaleInc="-5619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3747E5E-D09F-42D0-B98B-9B7D106E490E}" type="pres">
      <dgm:prSet presAssocID="{72EF49FF-E7F9-417B-BB11-C0D22337DBBE}" presName="spNode" presStyleCnt="0"/>
      <dgm:spPr/>
    </dgm:pt>
    <dgm:pt modelId="{8141AD00-C3CA-4BCD-851D-E3E1132C5CFD}" type="pres">
      <dgm:prSet presAssocID="{62C3410B-DB23-494C-AC38-AC5DFB25EA33}" presName="sibTrans" presStyleLbl="sibTrans1D1" presStyleIdx="5" presStyleCnt="6"/>
      <dgm:spPr/>
      <dgm:t>
        <a:bodyPr/>
        <a:lstStyle/>
        <a:p>
          <a:endParaRPr lang="fr-FR"/>
        </a:p>
      </dgm:t>
    </dgm:pt>
  </dgm:ptLst>
  <dgm:cxnLst>
    <dgm:cxn modelId="{88305ECB-9280-47B7-9613-5B4CAE4C80D4}" srcId="{51DAA396-A801-49DA-AE23-1AA2A83B013D}" destId="{86A968A3-7B90-4ACE-8B61-61E9F0438218}" srcOrd="1" destOrd="0" parTransId="{CC3F6BF5-CEF6-4BEF-9FAB-5F7F0089E130}" sibTransId="{0C26BE65-3FC7-4802-9770-7F74A1CC6B30}"/>
    <dgm:cxn modelId="{7EBAFA87-1BE4-4FAF-8AA9-3BA93E6CF143}" type="presOf" srcId="{0C26BE65-3FC7-4802-9770-7F74A1CC6B30}" destId="{83CF317A-9E01-4891-B9FB-8D6BF777D8C3}" srcOrd="0" destOrd="0" presId="urn:microsoft.com/office/officeart/2005/8/layout/cycle6"/>
    <dgm:cxn modelId="{47AD8C88-FE0E-4039-86E2-3EC5F9C8594C}" srcId="{51DAA396-A801-49DA-AE23-1AA2A83B013D}" destId="{948C8368-C569-459D-A571-3F5305781B33}" srcOrd="0" destOrd="0" parTransId="{7BCF733E-1B7C-4594-BC07-B712BA256A10}" sibTransId="{8BCB8AFF-4948-4A45-970F-3532DFCED254}"/>
    <dgm:cxn modelId="{C89CE0A8-24FB-42B8-9590-523576FCC795}" type="presOf" srcId="{533ADC81-779E-41CB-A251-E5D477AA55B1}" destId="{D615C55B-1A9C-4CF4-B5E6-7BEE170074F0}" srcOrd="0" destOrd="0" presId="urn:microsoft.com/office/officeart/2005/8/layout/cycle6"/>
    <dgm:cxn modelId="{0D278476-0811-456C-8FBF-B129080914EC}" srcId="{51DAA396-A801-49DA-AE23-1AA2A83B013D}" destId="{1FED7931-BBCD-4420-BEF5-0E615409FB06}" srcOrd="2" destOrd="0" parTransId="{E1CDC654-CC63-4AED-80A6-F170E7D96245}" sibTransId="{582C6CA8-FBD6-4DE2-BF8A-96F913845E6A}"/>
    <dgm:cxn modelId="{260233A9-8700-462C-BA3D-9FD7CE28B3EF}" type="presOf" srcId="{1FED7931-BBCD-4420-BEF5-0E615409FB06}" destId="{52E7D78C-9227-4935-9D9B-C82B391071EC}" srcOrd="0" destOrd="0" presId="urn:microsoft.com/office/officeart/2005/8/layout/cycle6"/>
    <dgm:cxn modelId="{E2D48B34-B1C8-431E-BA65-E83340B7D26E}" type="presOf" srcId="{8BCB8AFF-4948-4A45-970F-3532DFCED254}" destId="{C593AC9A-F2DB-44A9-AE8D-A5707C6B00EA}" srcOrd="0" destOrd="0" presId="urn:microsoft.com/office/officeart/2005/8/layout/cycle6"/>
    <dgm:cxn modelId="{744C3763-9284-4ABD-A3DE-7E2735E28B2F}" type="presOf" srcId="{72EF49FF-E7F9-417B-BB11-C0D22337DBBE}" destId="{62E1B408-8252-4591-8B70-230FFCC8C371}" srcOrd="0" destOrd="0" presId="urn:microsoft.com/office/officeart/2005/8/layout/cycle6"/>
    <dgm:cxn modelId="{1CE32363-1B1D-4C81-9754-4E2ED936D843}" type="presOf" srcId="{582C6CA8-FBD6-4DE2-BF8A-96F913845E6A}" destId="{AD0D34BD-3A75-4544-81EF-8C85BC46F164}" srcOrd="0" destOrd="0" presId="urn:microsoft.com/office/officeart/2005/8/layout/cycle6"/>
    <dgm:cxn modelId="{B1E71834-10BC-418F-BE6C-59D25EA31CA7}" type="presOf" srcId="{51DAA396-A801-49DA-AE23-1AA2A83B013D}" destId="{E2D7D9ED-93C7-49B1-8E09-1EC7C55557FD}" srcOrd="0" destOrd="0" presId="urn:microsoft.com/office/officeart/2005/8/layout/cycle6"/>
    <dgm:cxn modelId="{4C9BB788-899F-436D-9FFD-87646DBF3963}" type="presOf" srcId="{1A3936E6-73C4-49CC-A539-21AC1C9F4D3F}" destId="{AB72F905-1360-427B-83BA-5EB635EB9976}" srcOrd="0" destOrd="0" presId="urn:microsoft.com/office/officeart/2005/8/layout/cycle6"/>
    <dgm:cxn modelId="{154942DB-FCB5-48A5-A376-12B06CD1935A}" type="presOf" srcId="{62C3410B-DB23-494C-AC38-AC5DFB25EA33}" destId="{8141AD00-C3CA-4BCD-851D-E3E1132C5CFD}" srcOrd="0" destOrd="0" presId="urn:microsoft.com/office/officeart/2005/8/layout/cycle6"/>
    <dgm:cxn modelId="{6DA00451-0C7F-4825-9DB0-95FEC221E66A}" srcId="{51DAA396-A801-49DA-AE23-1AA2A83B013D}" destId="{533ADC81-779E-41CB-A251-E5D477AA55B1}" srcOrd="3" destOrd="0" parTransId="{642031FD-7055-4C34-AE4F-44AFCDBFA963}" sibTransId="{1A3936E6-73C4-49CC-A539-21AC1C9F4D3F}"/>
    <dgm:cxn modelId="{B4364929-77D3-497E-88A3-FFF42C705E6C}" srcId="{51DAA396-A801-49DA-AE23-1AA2A83B013D}" destId="{1FB9FE8E-29A3-460D-8B9B-88DCC1596074}" srcOrd="4" destOrd="0" parTransId="{789DD773-E780-42C2-B134-B8C98451FD8D}" sibTransId="{7B024755-578C-4958-B086-23CD2FB1C5F0}"/>
    <dgm:cxn modelId="{1E4E9B2D-DF48-4F13-9FA4-0890E2DBC31C}" type="presOf" srcId="{86A968A3-7B90-4ACE-8B61-61E9F0438218}" destId="{C99F8B78-3536-497D-AD6E-209E6348C0D2}" srcOrd="0" destOrd="0" presId="urn:microsoft.com/office/officeart/2005/8/layout/cycle6"/>
    <dgm:cxn modelId="{1D03A8B2-8B44-455D-B5EB-7D55DEAF9DF9}" type="presOf" srcId="{1FB9FE8E-29A3-460D-8B9B-88DCC1596074}" destId="{DC080E75-3E8B-473D-A4E3-95D1B45B56A2}" srcOrd="0" destOrd="0" presId="urn:microsoft.com/office/officeart/2005/8/layout/cycle6"/>
    <dgm:cxn modelId="{F528AFD2-42D4-4733-AD10-88D79BB31191}" srcId="{51DAA396-A801-49DA-AE23-1AA2A83B013D}" destId="{72EF49FF-E7F9-417B-BB11-C0D22337DBBE}" srcOrd="5" destOrd="0" parTransId="{B721961C-D15D-4F8B-9FBE-E292C2DC05E0}" sibTransId="{62C3410B-DB23-494C-AC38-AC5DFB25EA33}"/>
    <dgm:cxn modelId="{6118EB86-EBB8-4693-8873-6CDB246FF1E4}" type="presOf" srcId="{948C8368-C569-459D-A571-3F5305781B33}" destId="{B2F71481-27A6-4804-8191-FA0515914C12}" srcOrd="0" destOrd="0" presId="urn:microsoft.com/office/officeart/2005/8/layout/cycle6"/>
    <dgm:cxn modelId="{AF80885F-67C4-4178-A872-244AF6FDDAC6}" type="presOf" srcId="{7B024755-578C-4958-B086-23CD2FB1C5F0}" destId="{9033520A-E45D-4266-8FA1-9D82D1FFEFA2}" srcOrd="0" destOrd="0" presId="urn:microsoft.com/office/officeart/2005/8/layout/cycle6"/>
    <dgm:cxn modelId="{43AC8172-F78B-410F-8E28-6E3C1F4431AE}" type="presParOf" srcId="{E2D7D9ED-93C7-49B1-8E09-1EC7C55557FD}" destId="{B2F71481-27A6-4804-8191-FA0515914C12}" srcOrd="0" destOrd="0" presId="urn:microsoft.com/office/officeart/2005/8/layout/cycle6"/>
    <dgm:cxn modelId="{12800E99-5DA0-4030-8E1F-CF04540E6F65}" type="presParOf" srcId="{E2D7D9ED-93C7-49B1-8E09-1EC7C55557FD}" destId="{C29EA765-86FD-4050-8BE7-9754E959E7EF}" srcOrd="1" destOrd="0" presId="urn:microsoft.com/office/officeart/2005/8/layout/cycle6"/>
    <dgm:cxn modelId="{770DE64B-7EE1-40D3-93FD-F04230396BBE}" type="presParOf" srcId="{E2D7D9ED-93C7-49B1-8E09-1EC7C55557FD}" destId="{C593AC9A-F2DB-44A9-AE8D-A5707C6B00EA}" srcOrd="2" destOrd="0" presId="urn:microsoft.com/office/officeart/2005/8/layout/cycle6"/>
    <dgm:cxn modelId="{2EDD94DF-C5FC-424E-9098-488791395AB8}" type="presParOf" srcId="{E2D7D9ED-93C7-49B1-8E09-1EC7C55557FD}" destId="{C99F8B78-3536-497D-AD6E-209E6348C0D2}" srcOrd="3" destOrd="0" presId="urn:microsoft.com/office/officeart/2005/8/layout/cycle6"/>
    <dgm:cxn modelId="{816A1620-DA2A-4956-B0E9-91618E718E32}" type="presParOf" srcId="{E2D7D9ED-93C7-49B1-8E09-1EC7C55557FD}" destId="{2545DD27-FA0B-4657-BC82-834872B9BBEB}" srcOrd="4" destOrd="0" presId="urn:microsoft.com/office/officeart/2005/8/layout/cycle6"/>
    <dgm:cxn modelId="{F14CB6BA-70AA-4B23-9EFB-8514D8E0C3CF}" type="presParOf" srcId="{E2D7D9ED-93C7-49B1-8E09-1EC7C55557FD}" destId="{83CF317A-9E01-4891-B9FB-8D6BF777D8C3}" srcOrd="5" destOrd="0" presId="urn:microsoft.com/office/officeart/2005/8/layout/cycle6"/>
    <dgm:cxn modelId="{D6AB58EE-6FF9-4833-A941-408FC9D341A2}" type="presParOf" srcId="{E2D7D9ED-93C7-49B1-8E09-1EC7C55557FD}" destId="{52E7D78C-9227-4935-9D9B-C82B391071EC}" srcOrd="6" destOrd="0" presId="urn:microsoft.com/office/officeart/2005/8/layout/cycle6"/>
    <dgm:cxn modelId="{520C9859-5E2B-4DC9-8299-EC7C9C6C5A46}" type="presParOf" srcId="{E2D7D9ED-93C7-49B1-8E09-1EC7C55557FD}" destId="{15753139-3016-4A47-B37B-22892F3ABB43}" srcOrd="7" destOrd="0" presId="urn:microsoft.com/office/officeart/2005/8/layout/cycle6"/>
    <dgm:cxn modelId="{82675D76-587E-4A05-9DFE-AA03E00D0CA6}" type="presParOf" srcId="{E2D7D9ED-93C7-49B1-8E09-1EC7C55557FD}" destId="{AD0D34BD-3A75-4544-81EF-8C85BC46F164}" srcOrd="8" destOrd="0" presId="urn:microsoft.com/office/officeart/2005/8/layout/cycle6"/>
    <dgm:cxn modelId="{0ABA8B20-0EA5-4B91-A365-6EB41A657A0A}" type="presParOf" srcId="{E2D7D9ED-93C7-49B1-8E09-1EC7C55557FD}" destId="{D615C55B-1A9C-4CF4-B5E6-7BEE170074F0}" srcOrd="9" destOrd="0" presId="urn:microsoft.com/office/officeart/2005/8/layout/cycle6"/>
    <dgm:cxn modelId="{2CF407DB-3DD3-44C8-8418-D7922006CCFD}" type="presParOf" srcId="{E2D7D9ED-93C7-49B1-8E09-1EC7C55557FD}" destId="{381015D2-347C-474D-A3EB-BDEA2CCE3F7A}" srcOrd="10" destOrd="0" presId="urn:microsoft.com/office/officeart/2005/8/layout/cycle6"/>
    <dgm:cxn modelId="{B8E34F91-C042-4E08-B80E-CA847D1CEEDC}" type="presParOf" srcId="{E2D7D9ED-93C7-49B1-8E09-1EC7C55557FD}" destId="{AB72F905-1360-427B-83BA-5EB635EB9976}" srcOrd="11" destOrd="0" presId="urn:microsoft.com/office/officeart/2005/8/layout/cycle6"/>
    <dgm:cxn modelId="{1A2E60B7-5B20-4DF6-8D4E-46E5B3C24459}" type="presParOf" srcId="{E2D7D9ED-93C7-49B1-8E09-1EC7C55557FD}" destId="{DC080E75-3E8B-473D-A4E3-95D1B45B56A2}" srcOrd="12" destOrd="0" presId="urn:microsoft.com/office/officeart/2005/8/layout/cycle6"/>
    <dgm:cxn modelId="{685041C9-389C-4534-8F97-217E2D69BDE9}" type="presParOf" srcId="{E2D7D9ED-93C7-49B1-8E09-1EC7C55557FD}" destId="{E9E603B6-3B9B-4F26-89F9-64F4DADBF9BE}" srcOrd="13" destOrd="0" presId="urn:microsoft.com/office/officeart/2005/8/layout/cycle6"/>
    <dgm:cxn modelId="{AB83269B-3983-4761-918F-85F908404F67}" type="presParOf" srcId="{E2D7D9ED-93C7-49B1-8E09-1EC7C55557FD}" destId="{9033520A-E45D-4266-8FA1-9D82D1FFEFA2}" srcOrd="14" destOrd="0" presId="urn:microsoft.com/office/officeart/2005/8/layout/cycle6"/>
    <dgm:cxn modelId="{988B3A8E-36E7-40AE-A325-469C3A26BE87}" type="presParOf" srcId="{E2D7D9ED-93C7-49B1-8E09-1EC7C55557FD}" destId="{62E1B408-8252-4591-8B70-230FFCC8C371}" srcOrd="15" destOrd="0" presId="urn:microsoft.com/office/officeart/2005/8/layout/cycle6"/>
    <dgm:cxn modelId="{830BAF34-794B-429B-B89E-0D4025B2AC8C}" type="presParOf" srcId="{E2D7D9ED-93C7-49B1-8E09-1EC7C55557FD}" destId="{13747E5E-D09F-42D0-B98B-9B7D106E490E}" srcOrd="16" destOrd="0" presId="urn:microsoft.com/office/officeart/2005/8/layout/cycle6"/>
    <dgm:cxn modelId="{937E32A9-F306-489B-95A4-9F2B2DA38B2B}" type="presParOf" srcId="{E2D7D9ED-93C7-49B1-8E09-1EC7C55557FD}" destId="{8141AD00-C3CA-4BCD-851D-E3E1132C5CFD}" srcOrd="17" destOrd="0" presId="urn:microsoft.com/office/officeart/2005/8/layout/cycle6"/>
  </dgm:cxnLst>
  <dgm:bg/>
  <dgm:whole/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: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dirty="0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dirty="0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dirty="0" smtClean="0"/>
            <a:t>Pot de l'amitié</a:t>
          </a:r>
          <a:endParaRPr lang="fr-FR" dirty="0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F3554220-29C2-4720-92ED-A8FC624FFEE8}" type="presOf" srcId="{F010CF21-4A6D-44EF-A02C-3D5169816247}" destId="{08449366-2565-4365-85A6-6FD21C00BC0F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5622EC82-DED7-4F9A-B858-8D02C2A29F28}" type="presOf" srcId="{E81A0284-562D-4965-817B-B98B89BD7A12}" destId="{FB08870E-FF0D-4C93-98E3-73F93153C9AC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9386C552-2FFD-4428-8432-74687346A2EA}" type="presOf" srcId="{445F633E-575C-4AF5-92DD-A71CC7C927A2}" destId="{08F89A7F-2AF5-4371-8B52-FA6479DF35C0}" srcOrd="0" destOrd="0" presId="urn:microsoft.com/office/officeart/2008/layout/VerticalCurvedList"/>
    <dgm:cxn modelId="{4D3D52E2-D284-4F76-8060-EE8F6E789BFC}" type="presOf" srcId="{F562CD0B-E8EB-4DBC-82FD-4F9ECF32E366}" destId="{6940BDDF-1FEF-41BF-B9E9-0FFE3926A970}" srcOrd="0" destOrd="0" presId="urn:microsoft.com/office/officeart/2008/layout/VerticalCurvedList"/>
    <dgm:cxn modelId="{7ABCE2A8-8090-4BFF-8391-89B7F8A50193}" type="presOf" srcId="{59788018-3182-43A3-8988-94BE0745A02A}" destId="{54C74578-773C-4297-A4DE-1398F67BB91C}" srcOrd="0" destOrd="0" presId="urn:microsoft.com/office/officeart/2008/layout/VerticalCurvedList"/>
    <dgm:cxn modelId="{3ED84DE6-7A51-4AF1-984B-70749244740D}" type="presOf" srcId="{B9A48CF8-D428-45D1-8969-FBBF15BE7DBA}" destId="{B33E6E9D-CEE0-4253-A8E7-0BD98EFB662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741E2AC8-FC5A-4CE5-A851-62D379D4E4DE}" type="presOf" srcId="{2950704D-F612-46DF-93DB-38562274CE0A}" destId="{CD0934E8-FFC7-4C4F-89BE-AC8E748C473B}" srcOrd="0" destOrd="0" presId="urn:microsoft.com/office/officeart/2008/layout/VerticalCurvedList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80F31EC3-03FB-44DD-9529-6F2E040EB149}" type="presOf" srcId="{699445AF-5A04-47F7-878E-3F17D893EA9D}" destId="{7CCCBC3E-A548-477F-AB4A-CF7F4D57704E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D33B4263-2D12-4EF0-9927-7182FBBB4375}" type="presOf" srcId="{EDB31ED3-0E8F-4401-8F1C-3B18C9A8633A}" destId="{8126DCD3-7CB9-48CE-9320-BD9FFB148001}" srcOrd="0" destOrd="0" presId="urn:microsoft.com/office/officeart/2008/layout/VerticalCurvedList"/>
    <dgm:cxn modelId="{FAFA4176-6407-4FDD-88DB-54C969392AA2}" type="presParOf" srcId="{08449366-2565-4365-85A6-6FD21C00BC0F}" destId="{43AFC4E7-46DA-4B7B-B201-0A406A05CAD2}" srcOrd="0" destOrd="0" presId="urn:microsoft.com/office/officeart/2008/layout/VerticalCurvedList"/>
    <dgm:cxn modelId="{3DA6291A-8F0A-49B0-A018-BF4B959D4911}" type="presParOf" srcId="{43AFC4E7-46DA-4B7B-B201-0A406A05CAD2}" destId="{C89A3969-C068-41DF-977E-ED5F7B6D0CE6}" srcOrd="0" destOrd="0" presId="urn:microsoft.com/office/officeart/2008/layout/VerticalCurvedList"/>
    <dgm:cxn modelId="{8E505BDA-5F0C-4BCD-8B0B-93515AD4C020}" type="presParOf" srcId="{C89A3969-C068-41DF-977E-ED5F7B6D0CE6}" destId="{36B09AF6-20B6-459B-86E4-BA1ECCD29B61}" srcOrd="0" destOrd="0" presId="urn:microsoft.com/office/officeart/2008/layout/VerticalCurvedList"/>
    <dgm:cxn modelId="{55ED9541-6EA9-4F11-ACA6-D9543B8625AE}" type="presParOf" srcId="{C89A3969-C068-41DF-977E-ED5F7B6D0CE6}" destId="{6940BDDF-1FEF-41BF-B9E9-0FFE3926A970}" srcOrd="1" destOrd="0" presId="urn:microsoft.com/office/officeart/2008/layout/VerticalCurvedList"/>
    <dgm:cxn modelId="{DBA7BF7C-AB9E-42AB-B578-78C9D3F160AA}" type="presParOf" srcId="{C89A3969-C068-41DF-977E-ED5F7B6D0CE6}" destId="{CF948C64-B606-46D3-AF0E-5C95CC7F1D42}" srcOrd="2" destOrd="0" presId="urn:microsoft.com/office/officeart/2008/layout/VerticalCurvedList"/>
    <dgm:cxn modelId="{A18FB195-5E4A-4857-A85E-EC563D593892}" type="presParOf" srcId="{C89A3969-C068-41DF-977E-ED5F7B6D0CE6}" destId="{4485BF69-EF87-4AEE-AFDF-DE2F8D2ACCD9}" srcOrd="3" destOrd="0" presId="urn:microsoft.com/office/officeart/2008/layout/VerticalCurvedList"/>
    <dgm:cxn modelId="{4BE60859-C392-4E1A-B12F-54421C83AC0C}" type="presParOf" srcId="{43AFC4E7-46DA-4B7B-B201-0A406A05CAD2}" destId="{54C74578-773C-4297-A4DE-1398F67BB91C}" srcOrd="1" destOrd="0" presId="urn:microsoft.com/office/officeart/2008/layout/VerticalCurvedList"/>
    <dgm:cxn modelId="{0D3890F3-E67A-494A-A251-79A2156283E5}" type="presParOf" srcId="{43AFC4E7-46DA-4B7B-B201-0A406A05CAD2}" destId="{10D97C5B-BA88-4603-BEB8-816B9E26E1E0}" srcOrd="2" destOrd="0" presId="urn:microsoft.com/office/officeart/2008/layout/VerticalCurvedList"/>
    <dgm:cxn modelId="{124A2138-9119-4C81-8873-96701CA709D0}" type="presParOf" srcId="{10D97C5B-BA88-4603-BEB8-816B9E26E1E0}" destId="{EBBCF617-4DDB-47D0-98C7-99413FA904B7}" srcOrd="0" destOrd="0" presId="urn:microsoft.com/office/officeart/2008/layout/VerticalCurvedList"/>
    <dgm:cxn modelId="{7BD6CA91-E746-49D5-9CC0-EFE527A7CF09}" type="presParOf" srcId="{43AFC4E7-46DA-4B7B-B201-0A406A05CAD2}" destId="{B33E6E9D-CEE0-4253-A8E7-0BD98EFB662C}" srcOrd="3" destOrd="0" presId="urn:microsoft.com/office/officeart/2008/layout/VerticalCurvedList"/>
    <dgm:cxn modelId="{141B3F0B-FE0C-4303-BE75-8C768AC62338}" type="presParOf" srcId="{43AFC4E7-46DA-4B7B-B201-0A406A05CAD2}" destId="{0C3100F7-B06F-4D61-8952-72DDA3F196CC}" srcOrd="4" destOrd="0" presId="urn:microsoft.com/office/officeart/2008/layout/VerticalCurvedList"/>
    <dgm:cxn modelId="{601CB8DF-C05E-4D55-95DD-8DD5B7126106}" type="presParOf" srcId="{0C3100F7-B06F-4D61-8952-72DDA3F196CC}" destId="{7A113706-4115-4E46-A0DB-BB2E4C947383}" srcOrd="0" destOrd="0" presId="urn:microsoft.com/office/officeart/2008/layout/VerticalCurvedList"/>
    <dgm:cxn modelId="{5DC16B80-DDE4-49D4-81F8-B1DA93BC7607}" type="presParOf" srcId="{43AFC4E7-46DA-4B7B-B201-0A406A05CAD2}" destId="{CD0934E8-FFC7-4C4F-89BE-AC8E748C473B}" srcOrd="5" destOrd="0" presId="urn:microsoft.com/office/officeart/2008/layout/VerticalCurvedList"/>
    <dgm:cxn modelId="{C9D975A0-C3FC-4A83-AECE-705B00E1DA17}" type="presParOf" srcId="{43AFC4E7-46DA-4B7B-B201-0A406A05CAD2}" destId="{E9561BC4-D00A-48CE-8C8A-EEF31BA7E3DC}" srcOrd="6" destOrd="0" presId="urn:microsoft.com/office/officeart/2008/layout/VerticalCurvedList"/>
    <dgm:cxn modelId="{277353BF-C625-4C45-A973-F40806690BC8}" type="presParOf" srcId="{E9561BC4-D00A-48CE-8C8A-EEF31BA7E3DC}" destId="{0692BF8D-B063-4580-8A2D-225A14481CCD}" srcOrd="0" destOrd="0" presId="urn:microsoft.com/office/officeart/2008/layout/VerticalCurvedList"/>
    <dgm:cxn modelId="{606A3AA9-0D99-467B-AFBE-B6E8B41ACC03}" type="presParOf" srcId="{43AFC4E7-46DA-4B7B-B201-0A406A05CAD2}" destId="{7CCCBC3E-A548-477F-AB4A-CF7F4D57704E}" srcOrd="7" destOrd="0" presId="urn:microsoft.com/office/officeart/2008/layout/VerticalCurvedList"/>
    <dgm:cxn modelId="{4DAAFD27-168F-43BC-87E7-EA604A1BF45E}" type="presParOf" srcId="{43AFC4E7-46DA-4B7B-B201-0A406A05CAD2}" destId="{52AAC49D-EBED-4268-8D76-691EE33A579D}" srcOrd="8" destOrd="0" presId="urn:microsoft.com/office/officeart/2008/layout/VerticalCurvedList"/>
    <dgm:cxn modelId="{48891DC9-E693-47CD-B463-DD79A66B4582}" type="presParOf" srcId="{52AAC49D-EBED-4268-8D76-691EE33A579D}" destId="{153D8280-B34C-4997-89AD-DE892539C6A1}" srcOrd="0" destOrd="0" presId="urn:microsoft.com/office/officeart/2008/layout/VerticalCurvedList"/>
    <dgm:cxn modelId="{543A1FC3-DE03-4A45-B691-50ED2E0A5EA1}" type="presParOf" srcId="{43AFC4E7-46DA-4B7B-B201-0A406A05CAD2}" destId="{08F89A7F-2AF5-4371-8B52-FA6479DF35C0}" srcOrd="9" destOrd="0" presId="urn:microsoft.com/office/officeart/2008/layout/VerticalCurvedList"/>
    <dgm:cxn modelId="{FDBE5C22-3376-4CEA-8522-48C3289EDA75}" type="presParOf" srcId="{43AFC4E7-46DA-4B7B-B201-0A406A05CAD2}" destId="{F13EF3DA-EB59-4531-832A-CE6769FB357E}" srcOrd="10" destOrd="0" presId="urn:microsoft.com/office/officeart/2008/layout/VerticalCurvedList"/>
    <dgm:cxn modelId="{FA332EAD-C278-414B-8E86-355DA9983DDA}" type="presParOf" srcId="{F13EF3DA-EB59-4531-832A-CE6769FB357E}" destId="{1CAC461D-769E-43F1-85D8-A86E37EE9368}" srcOrd="0" destOrd="0" presId="urn:microsoft.com/office/officeart/2008/layout/VerticalCurvedList"/>
    <dgm:cxn modelId="{77463D3D-3B27-47AD-87C5-71794B47E683}" type="presParOf" srcId="{43AFC4E7-46DA-4B7B-B201-0A406A05CAD2}" destId="{8126DCD3-7CB9-48CE-9320-BD9FFB148001}" srcOrd="11" destOrd="0" presId="urn:microsoft.com/office/officeart/2008/layout/VerticalCurvedList"/>
    <dgm:cxn modelId="{FE0782EF-6A62-4C2D-9C98-73123D21FF66}" type="presParOf" srcId="{43AFC4E7-46DA-4B7B-B201-0A406A05CAD2}" destId="{547E224F-A6EA-4836-A3FF-8F1216A753A0}" srcOrd="12" destOrd="0" presId="urn:microsoft.com/office/officeart/2008/layout/VerticalCurvedList"/>
    <dgm:cxn modelId="{082EC23F-3FAF-46FF-806C-195DC588113E}" type="presParOf" srcId="{547E224F-A6EA-4836-A3FF-8F1216A753A0}" destId="{8C00D473-19AF-4CDA-AA78-6937BED59218}" srcOrd="0" destOrd="0" presId="urn:microsoft.com/office/officeart/2008/layout/VerticalCurvedList"/>
    <dgm:cxn modelId="{EB4A7F87-C446-4E58-BD43-756319235A2F}" type="presParOf" srcId="{43AFC4E7-46DA-4B7B-B201-0A406A05CAD2}" destId="{FB08870E-FF0D-4C93-98E3-73F93153C9AC}" srcOrd="13" destOrd="0" presId="urn:microsoft.com/office/officeart/2008/layout/VerticalCurvedList"/>
    <dgm:cxn modelId="{83A1BBC4-4D3D-4A1E-85F5-F6698FE73A63}" type="presParOf" srcId="{43AFC4E7-46DA-4B7B-B201-0A406A05CAD2}" destId="{EEE5F45C-B2C8-41B8-BDE7-E14146B6438C}" srcOrd="14" destOrd="0" presId="urn:microsoft.com/office/officeart/2008/layout/VerticalCurvedList"/>
    <dgm:cxn modelId="{628ABBB6-142B-4557-B785-F9EEB83F66E5}" type="presParOf" srcId="{EEE5F45C-B2C8-41B8-BDE7-E14146B6438C}" destId="{E3F2224B-B766-4EE7-96DD-292C5A03119D}" srcOrd="0" destOrd="0" presId="urn:microsoft.com/office/officeart/2008/layout/VerticalCurvedList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1B1F09-C12F-4D28-B55B-C6D7A65D0889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B3DAB49-77E8-4A92-82A8-F7BFC5289861}">
      <dgm:prSet phldrT="[Texte]" custT="1"/>
      <dgm:spPr/>
      <dgm:t>
        <a:bodyPr/>
        <a:lstStyle/>
        <a:p>
          <a:r>
            <a:rPr lang="fr-FR" sz="1100" dirty="0" smtClean="0"/>
            <a:t>Construction par version avec à minima une version chaque année</a:t>
          </a:r>
          <a:endParaRPr lang="fr-FR" sz="1100" dirty="0"/>
        </a:p>
      </dgm:t>
    </dgm:pt>
    <dgm:pt modelId="{7BBC6C0F-F14F-4E57-9A15-AF7D499EB312}" type="parTrans" cxnId="{0FC359C6-C390-47DF-B836-7EDC25D12575}">
      <dgm:prSet/>
      <dgm:spPr/>
      <dgm:t>
        <a:bodyPr/>
        <a:lstStyle/>
        <a:p>
          <a:endParaRPr lang="fr-FR"/>
        </a:p>
      </dgm:t>
    </dgm:pt>
    <dgm:pt modelId="{355A57F5-0E22-4F42-91E5-571ACE033B22}" type="sibTrans" cxnId="{0FC359C6-C390-47DF-B836-7EDC25D12575}">
      <dgm:prSet/>
      <dgm:spPr/>
      <dgm:t>
        <a:bodyPr/>
        <a:lstStyle/>
        <a:p>
          <a:endParaRPr lang="fr-FR"/>
        </a:p>
      </dgm:t>
    </dgm:pt>
    <dgm:pt modelId="{22A4FD2C-C096-4671-BAE5-8057B4E3372B}">
      <dgm:prSet phldrT="[Texte]" custT="1"/>
      <dgm:spPr/>
      <dgm:t>
        <a:bodyPr/>
        <a:lstStyle/>
        <a:p>
          <a:r>
            <a:rPr lang="fr-FR" sz="1100" dirty="0" smtClean="0"/>
            <a:t>Etre attractif, ambitieux et réaliste</a:t>
          </a:r>
          <a:endParaRPr lang="fr-FR" sz="1100" dirty="0"/>
        </a:p>
      </dgm:t>
    </dgm:pt>
    <dgm:pt modelId="{5560BEF4-92D3-4AC5-A3C0-B11B500B7545}" type="parTrans" cxnId="{9B11EB19-E39C-4D45-8BCA-51C227D316DB}">
      <dgm:prSet/>
      <dgm:spPr/>
      <dgm:t>
        <a:bodyPr/>
        <a:lstStyle/>
        <a:p>
          <a:endParaRPr lang="fr-FR"/>
        </a:p>
      </dgm:t>
    </dgm:pt>
    <dgm:pt modelId="{97C8FC6C-CDC9-4092-B85F-AFCD9A793DE5}" type="sibTrans" cxnId="{9B11EB19-E39C-4D45-8BCA-51C227D316DB}">
      <dgm:prSet/>
      <dgm:spPr/>
      <dgm:t>
        <a:bodyPr/>
        <a:lstStyle/>
        <a:p>
          <a:endParaRPr lang="fr-FR"/>
        </a:p>
      </dgm:t>
    </dgm:pt>
    <dgm:pt modelId="{10AECDAB-BC02-4288-9D37-F10CA0A6174B}">
      <dgm:prSet phldrT="[Texte]" custT="1"/>
      <dgm:spPr/>
      <dgm:t>
        <a:bodyPr/>
        <a:lstStyle/>
        <a:p>
          <a:r>
            <a:rPr lang="fr-FR" sz="1100" dirty="0" smtClean="0"/>
            <a:t>Etre participatif et rassembleur</a:t>
          </a:r>
          <a:endParaRPr lang="fr-FR" sz="1100" dirty="0"/>
        </a:p>
      </dgm:t>
    </dgm:pt>
    <dgm:pt modelId="{F0EBCDE7-FCA4-48C6-B891-430771F8790C}" type="parTrans" cxnId="{6E9BFBF9-87B0-461D-A08A-CCD420E0DBBD}">
      <dgm:prSet/>
      <dgm:spPr/>
      <dgm:t>
        <a:bodyPr/>
        <a:lstStyle/>
        <a:p>
          <a:endParaRPr lang="fr-FR"/>
        </a:p>
      </dgm:t>
    </dgm:pt>
    <dgm:pt modelId="{C58515EA-6D47-4A82-89F0-1BC9B36466EA}" type="sibTrans" cxnId="{6E9BFBF9-87B0-461D-A08A-CCD420E0DBBD}">
      <dgm:prSet/>
      <dgm:spPr/>
      <dgm:t>
        <a:bodyPr/>
        <a:lstStyle/>
        <a:p>
          <a:endParaRPr lang="fr-FR"/>
        </a:p>
      </dgm:t>
    </dgm:pt>
    <dgm:pt modelId="{647DFDA9-ACFC-4B61-B552-31FC63634995}">
      <dgm:prSet phldrT="[Texte]" custT="1"/>
      <dgm:spPr/>
      <dgm:t>
        <a:bodyPr/>
        <a:lstStyle/>
        <a:p>
          <a:r>
            <a:rPr lang="fr-FR" sz="1100" dirty="0" smtClean="0"/>
            <a:t>Etre largement communiqué au sein et en dehors de l’association</a:t>
          </a:r>
          <a:endParaRPr lang="fr-FR" sz="1100" dirty="0"/>
        </a:p>
      </dgm:t>
    </dgm:pt>
    <dgm:pt modelId="{D64E7A22-AECA-431C-9F85-6E6173D9736F}" type="parTrans" cxnId="{7C628A09-511D-42D3-B0A2-AC914C5FFDE8}">
      <dgm:prSet/>
      <dgm:spPr/>
      <dgm:t>
        <a:bodyPr/>
        <a:lstStyle/>
        <a:p>
          <a:endParaRPr lang="fr-FR"/>
        </a:p>
      </dgm:t>
    </dgm:pt>
    <dgm:pt modelId="{BC291B06-25EE-4B00-9B99-D21669E1CD4A}" type="sibTrans" cxnId="{7C628A09-511D-42D3-B0A2-AC914C5FFDE8}">
      <dgm:prSet/>
      <dgm:spPr/>
      <dgm:t>
        <a:bodyPr/>
        <a:lstStyle/>
        <a:p>
          <a:endParaRPr lang="fr-FR"/>
        </a:p>
      </dgm:t>
    </dgm:pt>
    <dgm:pt modelId="{5119746C-584C-4073-9CF6-17B0E0C2997E}">
      <dgm:prSet phldrT="[Texte]" custT="1"/>
      <dgm:spPr/>
      <dgm:t>
        <a:bodyPr/>
        <a:lstStyle/>
        <a:p>
          <a:r>
            <a:rPr lang="fr-FR" sz="1100" dirty="0" smtClean="0"/>
            <a:t>Recueillir l’adhésion</a:t>
          </a:r>
          <a:endParaRPr lang="fr-FR" sz="1100" dirty="0"/>
        </a:p>
      </dgm:t>
    </dgm:pt>
    <dgm:pt modelId="{1A5C437E-CCA9-4F9D-8FD9-5B4BC9B8516E}" type="parTrans" cxnId="{8E579052-9C1A-43C7-91A5-B9990BCBE834}">
      <dgm:prSet/>
      <dgm:spPr/>
      <dgm:t>
        <a:bodyPr/>
        <a:lstStyle/>
        <a:p>
          <a:endParaRPr lang="fr-FR"/>
        </a:p>
      </dgm:t>
    </dgm:pt>
    <dgm:pt modelId="{239DA82F-D91C-4B03-A790-5DFBD3E16A77}" type="sibTrans" cxnId="{8E579052-9C1A-43C7-91A5-B9990BCBE834}">
      <dgm:prSet/>
      <dgm:spPr/>
      <dgm:t>
        <a:bodyPr/>
        <a:lstStyle/>
        <a:p>
          <a:endParaRPr lang="fr-FR"/>
        </a:p>
      </dgm:t>
    </dgm:pt>
    <dgm:pt modelId="{A1DFCA64-B024-4479-8ECD-BAE177A73D3F}">
      <dgm:prSet phldrT="[Texte]" custT="1"/>
      <dgm:spPr/>
      <dgm:t>
        <a:bodyPr/>
        <a:lstStyle/>
        <a:p>
          <a:r>
            <a:rPr lang="fr-FR" sz="1100" dirty="0" smtClean="0"/>
            <a:t>Garder nos meilleurs éléments  et en attirer d’autres pour augmenter de niveau des résultats en compétition</a:t>
          </a:r>
          <a:endParaRPr lang="fr-FR" sz="1100" dirty="0"/>
        </a:p>
      </dgm:t>
    </dgm:pt>
    <dgm:pt modelId="{52B2CB84-AFF6-43C5-A55B-F30893731A5A}" type="parTrans" cxnId="{7D3365DF-43AF-41BA-B493-45D4ECA7E9BA}">
      <dgm:prSet/>
      <dgm:spPr/>
      <dgm:t>
        <a:bodyPr/>
        <a:lstStyle/>
        <a:p>
          <a:endParaRPr lang="fr-FR"/>
        </a:p>
      </dgm:t>
    </dgm:pt>
    <dgm:pt modelId="{63B3BACD-66B0-443B-BBE3-35A4AC1A05A0}" type="sibTrans" cxnId="{7D3365DF-43AF-41BA-B493-45D4ECA7E9BA}">
      <dgm:prSet/>
      <dgm:spPr/>
      <dgm:t>
        <a:bodyPr/>
        <a:lstStyle/>
        <a:p>
          <a:endParaRPr lang="fr-FR"/>
        </a:p>
      </dgm:t>
    </dgm:pt>
    <dgm:pt modelId="{52B32996-17F4-4BD6-8B76-66EF79C4AC4F}">
      <dgm:prSet phldrT="[Texte]" custT="1"/>
      <dgm:spPr/>
      <dgm:t>
        <a:bodyPr/>
        <a:lstStyle/>
        <a:p>
          <a:r>
            <a:rPr lang="fr-FR" sz="1100" dirty="0" smtClean="0"/>
            <a:t>Permettre à l’Herblaisienne d’être plus performante</a:t>
          </a:r>
          <a:endParaRPr lang="fr-FR" sz="1100" dirty="0"/>
        </a:p>
      </dgm:t>
    </dgm:pt>
    <dgm:pt modelId="{ABD3082F-660A-417A-A8EC-069AC69C5A63}" type="parTrans" cxnId="{7728997B-AC78-4D66-9557-F62A4AF5DDAF}">
      <dgm:prSet/>
      <dgm:spPr/>
      <dgm:t>
        <a:bodyPr/>
        <a:lstStyle/>
        <a:p>
          <a:endParaRPr lang="fr-FR"/>
        </a:p>
      </dgm:t>
    </dgm:pt>
    <dgm:pt modelId="{FA753E7E-26FC-4B70-B8EC-D6055A756D8A}" type="sibTrans" cxnId="{7728997B-AC78-4D66-9557-F62A4AF5DDAF}">
      <dgm:prSet/>
      <dgm:spPr/>
      <dgm:t>
        <a:bodyPr/>
        <a:lstStyle/>
        <a:p>
          <a:endParaRPr lang="fr-FR"/>
        </a:p>
      </dgm:t>
    </dgm:pt>
    <dgm:pt modelId="{EEE8878B-C948-4832-BED8-8F84750A666C}" type="pres">
      <dgm:prSet presAssocID="{AF1B1F09-C12F-4D28-B55B-C6D7A65D088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F61FBB1-5CE0-4ED9-8904-AE619FACF5E5}" type="pres">
      <dgm:prSet presAssocID="{8B3DAB49-77E8-4A92-82A8-F7BFC5289861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504F07-E6CD-4A6E-A9C2-179AC8CB7BEB}" type="pres">
      <dgm:prSet presAssocID="{355A57F5-0E22-4F42-91E5-571ACE033B22}" presName="sibTrans" presStyleCnt="0"/>
      <dgm:spPr/>
    </dgm:pt>
    <dgm:pt modelId="{02FC0FF6-E049-4895-9A38-95BA81946D41}" type="pres">
      <dgm:prSet presAssocID="{22A4FD2C-C096-4671-BAE5-8057B4E3372B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23AF666-651B-4A14-9469-6084D7468C68}" type="pres">
      <dgm:prSet presAssocID="{97C8FC6C-CDC9-4092-B85F-AFCD9A793DE5}" presName="sibTrans" presStyleCnt="0"/>
      <dgm:spPr/>
    </dgm:pt>
    <dgm:pt modelId="{A3BF8142-4200-44D1-9C3C-6EC841BF5A66}" type="pres">
      <dgm:prSet presAssocID="{10AECDAB-BC02-4288-9D37-F10CA0A6174B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DF6E796-B021-4900-8109-1AABBCA962AA}" type="pres">
      <dgm:prSet presAssocID="{C58515EA-6D47-4A82-89F0-1BC9B36466EA}" presName="sibTrans" presStyleCnt="0"/>
      <dgm:spPr/>
    </dgm:pt>
    <dgm:pt modelId="{7A98BB07-C127-43D1-8E9B-3FE2B6E619A9}" type="pres">
      <dgm:prSet presAssocID="{647DFDA9-ACFC-4B61-B552-31FC63634995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F96983F-7373-46FA-9FF3-FACA203C5C3B}" type="pres">
      <dgm:prSet presAssocID="{BC291B06-25EE-4B00-9B99-D21669E1CD4A}" presName="sibTrans" presStyleCnt="0"/>
      <dgm:spPr/>
    </dgm:pt>
    <dgm:pt modelId="{6A3042A8-F9BA-4952-A5B6-051D03DBB71C}" type="pres">
      <dgm:prSet presAssocID="{5119746C-584C-4073-9CF6-17B0E0C2997E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94C5578-4167-4D72-92C5-C86BAD7B92AA}" type="pres">
      <dgm:prSet presAssocID="{239DA82F-D91C-4B03-A790-5DFBD3E16A77}" presName="sibTrans" presStyleCnt="0"/>
      <dgm:spPr/>
    </dgm:pt>
    <dgm:pt modelId="{648B249F-21C9-49E3-A927-C8BB86391AF3}" type="pres">
      <dgm:prSet presAssocID="{A1DFCA64-B024-4479-8ECD-BAE177A73D3F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CFDDCB7-3A54-40D2-B65B-73F306E36877}" type="pres">
      <dgm:prSet presAssocID="{63B3BACD-66B0-443B-BBE3-35A4AC1A05A0}" presName="sibTrans" presStyleCnt="0"/>
      <dgm:spPr/>
    </dgm:pt>
    <dgm:pt modelId="{7EB8EEDA-6FB8-4695-90A9-99C0E5B17170}" type="pres">
      <dgm:prSet presAssocID="{52B32996-17F4-4BD6-8B76-66EF79C4AC4F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FC359C6-C390-47DF-B836-7EDC25D12575}" srcId="{AF1B1F09-C12F-4D28-B55B-C6D7A65D0889}" destId="{8B3DAB49-77E8-4A92-82A8-F7BFC5289861}" srcOrd="0" destOrd="0" parTransId="{7BBC6C0F-F14F-4E57-9A15-AF7D499EB312}" sibTransId="{355A57F5-0E22-4F42-91E5-571ACE033B22}"/>
    <dgm:cxn modelId="{54DD5CEC-341A-41DE-8CF2-D29F07261FD4}" type="presOf" srcId="{5119746C-584C-4073-9CF6-17B0E0C2997E}" destId="{6A3042A8-F9BA-4952-A5B6-051D03DBB71C}" srcOrd="0" destOrd="0" presId="urn:microsoft.com/office/officeart/2005/8/layout/default"/>
    <dgm:cxn modelId="{BAAB2EB1-060D-43E6-AA66-BE1FAF092DB5}" type="presOf" srcId="{647DFDA9-ACFC-4B61-B552-31FC63634995}" destId="{7A98BB07-C127-43D1-8E9B-3FE2B6E619A9}" srcOrd="0" destOrd="0" presId="urn:microsoft.com/office/officeart/2005/8/layout/default"/>
    <dgm:cxn modelId="{7D3365DF-43AF-41BA-B493-45D4ECA7E9BA}" srcId="{AF1B1F09-C12F-4D28-B55B-C6D7A65D0889}" destId="{A1DFCA64-B024-4479-8ECD-BAE177A73D3F}" srcOrd="5" destOrd="0" parTransId="{52B2CB84-AFF6-43C5-A55B-F30893731A5A}" sibTransId="{63B3BACD-66B0-443B-BBE3-35A4AC1A05A0}"/>
    <dgm:cxn modelId="{6E9BFBF9-87B0-461D-A08A-CCD420E0DBBD}" srcId="{AF1B1F09-C12F-4D28-B55B-C6D7A65D0889}" destId="{10AECDAB-BC02-4288-9D37-F10CA0A6174B}" srcOrd="2" destOrd="0" parTransId="{F0EBCDE7-FCA4-48C6-B891-430771F8790C}" sibTransId="{C58515EA-6D47-4A82-89F0-1BC9B36466EA}"/>
    <dgm:cxn modelId="{39997B75-2ABE-4C62-B813-76C9F49CC62D}" type="presOf" srcId="{52B32996-17F4-4BD6-8B76-66EF79C4AC4F}" destId="{7EB8EEDA-6FB8-4695-90A9-99C0E5B17170}" srcOrd="0" destOrd="0" presId="urn:microsoft.com/office/officeart/2005/8/layout/default"/>
    <dgm:cxn modelId="{57646052-F4BC-49B1-B06B-B74A0E2DFEED}" type="presOf" srcId="{A1DFCA64-B024-4479-8ECD-BAE177A73D3F}" destId="{648B249F-21C9-49E3-A927-C8BB86391AF3}" srcOrd="0" destOrd="0" presId="urn:microsoft.com/office/officeart/2005/8/layout/default"/>
    <dgm:cxn modelId="{7C628A09-511D-42D3-B0A2-AC914C5FFDE8}" srcId="{AF1B1F09-C12F-4D28-B55B-C6D7A65D0889}" destId="{647DFDA9-ACFC-4B61-B552-31FC63634995}" srcOrd="3" destOrd="0" parTransId="{D64E7A22-AECA-431C-9F85-6E6173D9736F}" sibTransId="{BC291B06-25EE-4B00-9B99-D21669E1CD4A}"/>
    <dgm:cxn modelId="{7728997B-AC78-4D66-9557-F62A4AF5DDAF}" srcId="{AF1B1F09-C12F-4D28-B55B-C6D7A65D0889}" destId="{52B32996-17F4-4BD6-8B76-66EF79C4AC4F}" srcOrd="6" destOrd="0" parTransId="{ABD3082F-660A-417A-A8EC-069AC69C5A63}" sibTransId="{FA753E7E-26FC-4B70-B8EC-D6055A756D8A}"/>
    <dgm:cxn modelId="{08541583-E7EE-45A7-AC2F-03C86612E7A9}" type="presOf" srcId="{8B3DAB49-77E8-4A92-82A8-F7BFC5289861}" destId="{1F61FBB1-5CE0-4ED9-8904-AE619FACF5E5}" srcOrd="0" destOrd="0" presId="urn:microsoft.com/office/officeart/2005/8/layout/default"/>
    <dgm:cxn modelId="{D4CD8935-5491-4FEF-829B-0400030B3F38}" type="presOf" srcId="{10AECDAB-BC02-4288-9D37-F10CA0A6174B}" destId="{A3BF8142-4200-44D1-9C3C-6EC841BF5A66}" srcOrd="0" destOrd="0" presId="urn:microsoft.com/office/officeart/2005/8/layout/default"/>
    <dgm:cxn modelId="{8E579052-9C1A-43C7-91A5-B9990BCBE834}" srcId="{AF1B1F09-C12F-4D28-B55B-C6D7A65D0889}" destId="{5119746C-584C-4073-9CF6-17B0E0C2997E}" srcOrd="4" destOrd="0" parTransId="{1A5C437E-CCA9-4F9D-8FD9-5B4BC9B8516E}" sibTransId="{239DA82F-D91C-4B03-A790-5DFBD3E16A77}"/>
    <dgm:cxn modelId="{7E6282F0-20ED-46CB-BAC5-8B5F232FD8AB}" type="presOf" srcId="{AF1B1F09-C12F-4D28-B55B-C6D7A65D0889}" destId="{EEE8878B-C948-4832-BED8-8F84750A666C}" srcOrd="0" destOrd="0" presId="urn:microsoft.com/office/officeart/2005/8/layout/default"/>
    <dgm:cxn modelId="{D23D6E36-7A26-46FD-BCB7-50965EC0864B}" type="presOf" srcId="{22A4FD2C-C096-4671-BAE5-8057B4E3372B}" destId="{02FC0FF6-E049-4895-9A38-95BA81946D41}" srcOrd="0" destOrd="0" presId="urn:microsoft.com/office/officeart/2005/8/layout/default"/>
    <dgm:cxn modelId="{9B11EB19-E39C-4D45-8BCA-51C227D316DB}" srcId="{AF1B1F09-C12F-4D28-B55B-C6D7A65D0889}" destId="{22A4FD2C-C096-4671-BAE5-8057B4E3372B}" srcOrd="1" destOrd="0" parTransId="{5560BEF4-92D3-4AC5-A3C0-B11B500B7545}" sibTransId="{97C8FC6C-CDC9-4092-B85F-AFCD9A793DE5}"/>
    <dgm:cxn modelId="{61C5D068-16B0-4D90-A0A5-66FBF9370D51}" type="presParOf" srcId="{EEE8878B-C948-4832-BED8-8F84750A666C}" destId="{1F61FBB1-5CE0-4ED9-8904-AE619FACF5E5}" srcOrd="0" destOrd="0" presId="urn:microsoft.com/office/officeart/2005/8/layout/default"/>
    <dgm:cxn modelId="{470ADEEF-686D-4D9A-82C5-D542ADE8F45B}" type="presParOf" srcId="{EEE8878B-C948-4832-BED8-8F84750A666C}" destId="{EE504F07-E6CD-4A6E-A9C2-179AC8CB7BEB}" srcOrd="1" destOrd="0" presId="urn:microsoft.com/office/officeart/2005/8/layout/default"/>
    <dgm:cxn modelId="{A0D22F1D-1D89-4928-90E2-E329B2E41ED9}" type="presParOf" srcId="{EEE8878B-C948-4832-BED8-8F84750A666C}" destId="{02FC0FF6-E049-4895-9A38-95BA81946D41}" srcOrd="2" destOrd="0" presId="urn:microsoft.com/office/officeart/2005/8/layout/default"/>
    <dgm:cxn modelId="{13673778-8007-47F1-8496-A00AD4986F5C}" type="presParOf" srcId="{EEE8878B-C948-4832-BED8-8F84750A666C}" destId="{923AF666-651B-4A14-9469-6084D7468C68}" srcOrd="3" destOrd="0" presId="urn:microsoft.com/office/officeart/2005/8/layout/default"/>
    <dgm:cxn modelId="{AC8FA226-192A-4816-887D-DB063735E640}" type="presParOf" srcId="{EEE8878B-C948-4832-BED8-8F84750A666C}" destId="{A3BF8142-4200-44D1-9C3C-6EC841BF5A66}" srcOrd="4" destOrd="0" presId="urn:microsoft.com/office/officeart/2005/8/layout/default"/>
    <dgm:cxn modelId="{05C5EC25-0BF1-438A-95AC-8B9CC48D8327}" type="presParOf" srcId="{EEE8878B-C948-4832-BED8-8F84750A666C}" destId="{6DF6E796-B021-4900-8109-1AABBCA962AA}" srcOrd="5" destOrd="0" presId="urn:microsoft.com/office/officeart/2005/8/layout/default"/>
    <dgm:cxn modelId="{2D5DB90D-9E95-4092-ABD3-C5B7A521BB2A}" type="presParOf" srcId="{EEE8878B-C948-4832-BED8-8F84750A666C}" destId="{7A98BB07-C127-43D1-8E9B-3FE2B6E619A9}" srcOrd="6" destOrd="0" presId="urn:microsoft.com/office/officeart/2005/8/layout/default"/>
    <dgm:cxn modelId="{6FEE546F-F8EE-4A68-9C66-342D5958B15D}" type="presParOf" srcId="{EEE8878B-C948-4832-BED8-8F84750A666C}" destId="{6F96983F-7373-46FA-9FF3-FACA203C5C3B}" srcOrd="7" destOrd="0" presId="urn:microsoft.com/office/officeart/2005/8/layout/default"/>
    <dgm:cxn modelId="{D103CEDD-3592-479D-91DE-803A84307408}" type="presParOf" srcId="{EEE8878B-C948-4832-BED8-8F84750A666C}" destId="{6A3042A8-F9BA-4952-A5B6-051D03DBB71C}" srcOrd="8" destOrd="0" presId="urn:microsoft.com/office/officeart/2005/8/layout/default"/>
    <dgm:cxn modelId="{C91E6168-A49A-4EA1-ABF0-E6BEB0D277B4}" type="presParOf" srcId="{EEE8878B-C948-4832-BED8-8F84750A666C}" destId="{494C5578-4167-4D72-92C5-C86BAD7B92AA}" srcOrd="9" destOrd="0" presId="urn:microsoft.com/office/officeart/2005/8/layout/default"/>
    <dgm:cxn modelId="{83EF7D90-BBF9-47A3-B7CA-937F7E749110}" type="presParOf" srcId="{EEE8878B-C948-4832-BED8-8F84750A666C}" destId="{648B249F-21C9-49E3-A927-C8BB86391AF3}" srcOrd="10" destOrd="0" presId="urn:microsoft.com/office/officeart/2005/8/layout/default"/>
    <dgm:cxn modelId="{8D068CA4-8818-4767-87E5-37488FDB82F0}" type="presParOf" srcId="{EEE8878B-C948-4832-BED8-8F84750A666C}" destId="{CCFDDCB7-3A54-40D2-B65B-73F306E36877}" srcOrd="11" destOrd="0" presId="urn:microsoft.com/office/officeart/2005/8/layout/default"/>
    <dgm:cxn modelId="{A43C9212-FE07-4708-A81A-DF6FD5956C57}" type="presParOf" srcId="{EEE8878B-C948-4832-BED8-8F84750A666C}" destId="{7EB8EEDA-6FB8-4695-90A9-99C0E5B17170}" srcOrd="12" destOrd="0" presId="urn:microsoft.com/office/officeart/2005/8/layout/default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81EF0BA-FD53-4214-85B2-9FFCBB0F4431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39FBA36-9284-4D5C-BC0F-672728ABFF4D}">
      <dgm:prSet phldrT="[Texte]"/>
      <dgm:spPr/>
      <dgm:t>
        <a:bodyPr/>
        <a:lstStyle/>
        <a:p>
          <a:r>
            <a:rPr lang="fr-FR" dirty="0" smtClean="0"/>
            <a:t>2015-2016</a:t>
          </a:r>
          <a:endParaRPr lang="fr-FR" dirty="0"/>
        </a:p>
      </dgm:t>
    </dgm:pt>
    <dgm:pt modelId="{45DC417E-4EFD-4139-BF09-9F19D9CF0B72}" type="parTrans" cxnId="{844FB0EC-C5B9-4051-B000-86B1ADC22F44}">
      <dgm:prSet/>
      <dgm:spPr/>
      <dgm:t>
        <a:bodyPr/>
        <a:lstStyle/>
        <a:p>
          <a:endParaRPr lang="fr-FR"/>
        </a:p>
      </dgm:t>
    </dgm:pt>
    <dgm:pt modelId="{2F369554-C9BB-4DBA-9502-45A313151362}" type="sibTrans" cxnId="{844FB0EC-C5B9-4051-B000-86B1ADC22F44}">
      <dgm:prSet/>
      <dgm:spPr/>
      <dgm:t>
        <a:bodyPr/>
        <a:lstStyle/>
        <a:p>
          <a:endParaRPr lang="fr-FR"/>
        </a:p>
      </dgm:t>
    </dgm:pt>
    <dgm:pt modelId="{B35A75BD-4FCE-4F8E-9D3B-9F4197BC7D84}">
      <dgm:prSet phldrT="[Texte]"/>
      <dgm:spPr/>
      <dgm:t>
        <a:bodyPr/>
        <a:lstStyle/>
        <a:p>
          <a:r>
            <a:rPr lang="fr-FR" dirty="0" smtClean="0"/>
            <a:t>Fonctionnement Général</a:t>
          </a:r>
          <a:endParaRPr lang="fr-FR" dirty="0"/>
        </a:p>
      </dgm:t>
    </dgm:pt>
    <dgm:pt modelId="{2C271F12-DD49-4AE0-BC11-B6A06558CFFE}" type="parTrans" cxnId="{A7D5737E-5385-4F9D-9325-0AD8C617BEF0}">
      <dgm:prSet/>
      <dgm:spPr/>
      <dgm:t>
        <a:bodyPr/>
        <a:lstStyle/>
        <a:p>
          <a:endParaRPr lang="fr-FR"/>
        </a:p>
      </dgm:t>
    </dgm:pt>
    <dgm:pt modelId="{0E0E8084-84E2-4286-8124-302E3FB8FEF4}" type="sibTrans" cxnId="{A7D5737E-5385-4F9D-9325-0AD8C617BEF0}">
      <dgm:prSet/>
      <dgm:spPr/>
      <dgm:t>
        <a:bodyPr/>
        <a:lstStyle/>
        <a:p>
          <a:endParaRPr lang="fr-FR"/>
        </a:p>
      </dgm:t>
    </dgm:pt>
    <dgm:pt modelId="{2BA9D1BD-7A36-4CD5-A97F-ADA8C34BBAED}">
      <dgm:prSet phldrT="[Texte]"/>
      <dgm:spPr/>
      <dgm:t>
        <a:bodyPr/>
        <a:lstStyle/>
        <a:p>
          <a:r>
            <a:rPr lang="fr-FR" dirty="0" smtClean="0"/>
            <a:t>Badminton</a:t>
          </a:r>
          <a:endParaRPr lang="fr-FR" dirty="0"/>
        </a:p>
      </dgm:t>
    </dgm:pt>
    <dgm:pt modelId="{931B660F-F6D8-43BF-AF7A-FD036337344F}" type="parTrans" cxnId="{3E850EF1-082B-409D-B3BD-51E678CE9765}">
      <dgm:prSet/>
      <dgm:spPr/>
      <dgm:t>
        <a:bodyPr/>
        <a:lstStyle/>
        <a:p>
          <a:endParaRPr lang="fr-FR"/>
        </a:p>
      </dgm:t>
    </dgm:pt>
    <dgm:pt modelId="{343C4578-4789-4D17-88F4-0E55D36235D5}" type="sibTrans" cxnId="{3E850EF1-082B-409D-B3BD-51E678CE9765}">
      <dgm:prSet/>
      <dgm:spPr/>
      <dgm:t>
        <a:bodyPr/>
        <a:lstStyle/>
        <a:p>
          <a:endParaRPr lang="fr-FR"/>
        </a:p>
      </dgm:t>
    </dgm:pt>
    <dgm:pt modelId="{470450E9-0ACB-4FF1-AD2D-4673114CE135}">
      <dgm:prSet phldrT="[Texte]"/>
      <dgm:spPr/>
      <dgm:t>
        <a:bodyPr/>
        <a:lstStyle/>
        <a:p>
          <a:r>
            <a:rPr lang="fr-FR" dirty="0" smtClean="0"/>
            <a:t>2016-2017</a:t>
          </a:r>
          <a:endParaRPr lang="fr-FR" dirty="0"/>
        </a:p>
      </dgm:t>
    </dgm:pt>
    <dgm:pt modelId="{7C20824D-E043-42A9-87AE-4D561F88CE3D}" type="parTrans" cxnId="{5D839A47-563D-4657-B655-15E677A3204E}">
      <dgm:prSet/>
      <dgm:spPr/>
      <dgm:t>
        <a:bodyPr/>
        <a:lstStyle/>
        <a:p>
          <a:endParaRPr lang="fr-FR"/>
        </a:p>
      </dgm:t>
    </dgm:pt>
    <dgm:pt modelId="{E30F7CEB-7DBC-45C1-AAF8-9715EB40D96D}" type="sibTrans" cxnId="{5D839A47-563D-4657-B655-15E677A3204E}">
      <dgm:prSet/>
      <dgm:spPr/>
      <dgm:t>
        <a:bodyPr/>
        <a:lstStyle/>
        <a:p>
          <a:endParaRPr lang="fr-FR"/>
        </a:p>
      </dgm:t>
    </dgm:pt>
    <dgm:pt modelId="{30F4BCD5-C415-4D9D-AAD5-9F01B1650A3A}">
      <dgm:prSet phldrT="[Texte]"/>
      <dgm:spPr/>
      <dgm:t>
        <a:bodyPr/>
        <a:lstStyle/>
        <a:p>
          <a:r>
            <a:rPr lang="fr-FR" smtClean="0"/>
            <a:t>Fonctionnement Général</a:t>
          </a:r>
          <a:endParaRPr lang="fr-FR" dirty="0"/>
        </a:p>
      </dgm:t>
    </dgm:pt>
    <dgm:pt modelId="{D86C80A6-56EF-4339-9DDA-D814D9B97821}" type="parTrans" cxnId="{A0D3D5FE-A40B-4419-A233-4626915FDE71}">
      <dgm:prSet/>
      <dgm:spPr/>
      <dgm:t>
        <a:bodyPr/>
        <a:lstStyle/>
        <a:p>
          <a:endParaRPr lang="fr-FR"/>
        </a:p>
      </dgm:t>
    </dgm:pt>
    <dgm:pt modelId="{9F209C1C-914A-4E65-9C6D-5F563558AD44}" type="sibTrans" cxnId="{A0D3D5FE-A40B-4419-A233-4626915FDE71}">
      <dgm:prSet/>
      <dgm:spPr/>
      <dgm:t>
        <a:bodyPr/>
        <a:lstStyle/>
        <a:p>
          <a:endParaRPr lang="fr-FR"/>
        </a:p>
      </dgm:t>
    </dgm:pt>
    <dgm:pt modelId="{ED54A4DA-30EE-4633-81E2-017472899CE8}">
      <dgm:prSet phldrT="[Texte]"/>
      <dgm:spPr/>
      <dgm:t>
        <a:bodyPr/>
        <a:lstStyle/>
        <a:p>
          <a:r>
            <a:rPr lang="fr-FR" dirty="0" smtClean="0"/>
            <a:t>2017-2018</a:t>
          </a:r>
          <a:endParaRPr lang="fr-FR" dirty="0"/>
        </a:p>
      </dgm:t>
    </dgm:pt>
    <dgm:pt modelId="{3AA76E0B-F200-4B70-86A7-8C1F04E6C01F}" type="parTrans" cxnId="{D0CD3481-C33F-4C14-9A5A-27D2446522BC}">
      <dgm:prSet/>
      <dgm:spPr/>
      <dgm:t>
        <a:bodyPr/>
        <a:lstStyle/>
        <a:p>
          <a:endParaRPr lang="fr-FR"/>
        </a:p>
      </dgm:t>
    </dgm:pt>
    <dgm:pt modelId="{462FE2DE-381E-42E1-B377-1930168B9B4F}" type="sibTrans" cxnId="{D0CD3481-C33F-4C14-9A5A-27D2446522BC}">
      <dgm:prSet/>
      <dgm:spPr/>
      <dgm:t>
        <a:bodyPr/>
        <a:lstStyle/>
        <a:p>
          <a:endParaRPr lang="fr-FR"/>
        </a:p>
      </dgm:t>
    </dgm:pt>
    <dgm:pt modelId="{FF23E246-376D-46F7-BC79-4589754B031D}">
      <dgm:prSet phldrT="[Texte]"/>
      <dgm:spPr/>
      <dgm:t>
        <a:bodyPr/>
        <a:lstStyle/>
        <a:p>
          <a:r>
            <a:rPr lang="fr-FR" dirty="0" smtClean="0"/>
            <a:t>Fonctionnement Général</a:t>
          </a:r>
          <a:endParaRPr lang="fr-FR" dirty="0"/>
        </a:p>
      </dgm:t>
    </dgm:pt>
    <dgm:pt modelId="{D53961B2-8A43-407F-8619-8DD229AD479F}" type="parTrans" cxnId="{B90383CB-248D-4A7A-B18B-0DEC05FA6D10}">
      <dgm:prSet/>
      <dgm:spPr/>
      <dgm:t>
        <a:bodyPr/>
        <a:lstStyle/>
        <a:p>
          <a:endParaRPr lang="fr-FR"/>
        </a:p>
      </dgm:t>
    </dgm:pt>
    <dgm:pt modelId="{DD939C10-55D5-43E9-8BC4-FDF1F3AE19D6}" type="sibTrans" cxnId="{B90383CB-248D-4A7A-B18B-0DEC05FA6D10}">
      <dgm:prSet/>
      <dgm:spPr/>
      <dgm:t>
        <a:bodyPr/>
        <a:lstStyle/>
        <a:p>
          <a:endParaRPr lang="fr-FR"/>
        </a:p>
      </dgm:t>
    </dgm:pt>
    <dgm:pt modelId="{D3D4F911-0D29-4D2C-8FBF-3E5187C6BC7C}">
      <dgm:prSet phldrT="[Texte]"/>
      <dgm:spPr/>
      <dgm:t>
        <a:bodyPr/>
        <a:lstStyle/>
        <a:p>
          <a:r>
            <a:rPr lang="fr-FR" dirty="0" smtClean="0"/>
            <a:t>Gymnastique Masculine</a:t>
          </a:r>
          <a:endParaRPr lang="fr-FR" dirty="0"/>
        </a:p>
      </dgm:t>
    </dgm:pt>
    <dgm:pt modelId="{B538D1D7-21F5-4644-A316-57C178AA0BB6}" type="parTrans" cxnId="{1AD3EE15-3401-4682-9E10-1D8348410CCD}">
      <dgm:prSet/>
      <dgm:spPr/>
      <dgm:t>
        <a:bodyPr/>
        <a:lstStyle/>
        <a:p>
          <a:endParaRPr lang="fr-FR"/>
        </a:p>
      </dgm:t>
    </dgm:pt>
    <dgm:pt modelId="{471E879E-BEDE-4A32-AE11-BAB78502A613}" type="sibTrans" cxnId="{1AD3EE15-3401-4682-9E10-1D8348410CCD}">
      <dgm:prSet/>
      <dgm:spPr/>
      <dgm:t>
        <a:bodyPr/>
        <a:lstStyle/>
        <a:p>
          <a:endParaRPr lang="fr-FR"/>
        </a:p>
      </dgm:t>
    </dgm:pt>
    <dgm:pt modelId="{4472124B-32C5-42FF-A7D8-5DCF263132A4}">
      <dgm:prSet phldrT="[Texte]"/>
      <dgm:spPr/>
      <dgm:t>
        <a:bodyPr/>
        <a:lstStyle/>
        <a:p>
          <a:r>
            <a:rPr lang="fr-FR" dirty="0" smtClean="0"/>
            <a:t>Badminton</a:t>
          </a:r>
          <a:endParaRPr lang="fr-FR" dirty="0"/>
        </a:p>
      </dgm:t>
    </dgm:pt>
    <dgm:pt modelId="{FEF37F89-4BFF-4EA3-B923-463CFDFF6A4E}" type="parTrans" cxnId="{415A9B24-9792-4527-A286-B422DD64D891}">
      <dgm:prSet/>
      <dgm:spPr/>
      <dgm:t>
        <a:bodyPr/>
        <a:lstStyle/>
        <a:p>
          <a:endParaRPr lang="fr-FR"/>
        </a:p>
      </dgm:t>
    </dgm:pt>
    <dgm:pt modelId="{A1DB856B-9493-4123-9A51-995625406246}" type="sibTrans" cxnId="{415A9B24-9792-4527-A286-B422DD64D891}">
      <dgm:prSet/>
      <dgm:spPr/>
      <dgm:t>
        <a:bodyPr/>
        <a:lstStyle/>
        <a:p>
          <a:endParaRPr lang="fr-FR"/>
        </a:p>
      </dgm:t>
    </dgm:pt>
    <dgm:pt modelId="{33594A70-BDC9-40A8-844B-5D915A2F95D8}">
      <dgm:prSet phldrT="[Texte]"/>
      <dgm:spPr/>
      <dgm:t>
        <a:bodyPr/>
        <a:lstStyle/>
        <a:p>
          <a:r>
            <a:rPr lang="fr-FR" dirty="0" smtClean="0"/>
            <a:t>Gymnastique Masculine</a:t>
          </a:r>
          <a:endParaRPr lang="fr-FR" dirty="0"/>
        </a:p>
      </dgm:t>
    </dgm:pt>
    <dgm:pt modelId="{802E770A-5ADD-4DEC-87C2-F4D27DE5AEB2}" type="parTrans" cxnId="{75DBF894-6D99-4DBE-890B-882133C40C00}">
      <dgm:prSet/>
      <dgm:spPr/>
      <dgm:t>
        <a:bodyPr/>
        <a:lstStyle/>
        <a:p>
          <a:endParaRPr lang="fr-FR"/>
        </a:p>
      </dgm:t>
    </dgm:pt>
    <dgm:pt modelId="{2DA79424-4531-47E3-B08B-786015CC46A5}" type="sibTrans" cxnId="{75DBF894-6D99-4DBE-890B-882133C40C00}">
      <dgm:prSet/>
      <dgm:spPr/>
      <dgm:t>
        <a:bodyPr/>
        <a:lstStyle/>
        <a:p>
          <a:endParaRPr lang="fr-FR"/>
        </a:p>
      </dgm:t>
    </dgm:pt>
    <dgm:pt modelId="{26DA51FB-57F9-4AC6-9029-7C5AFB8DF9C6}">
      <dgm:prSet phldrT="[Texte]"/>
      <dgm:spPr/>
      <dgm:t>
        <a:bodyPr/>
        <a:lstStyle/>
        <a:p>
          <a:r>
            <a:rPr lang="fr-FR" dirty="0" smtClean="0"/>
            <a:t>Badminton</a:t>
          </a:r>
          <a:endParaRPr lang="fr-FR" dirty="0"/>
        </a:p>
      </dgm:t>
    </dgm:pt>
    <dgm:pt modelId="{53BB948F-AAE2-421B-8E2E-ACC1BC517074}" type="parTrans" cxnId="{2D6D0216-BC27-4FCA-B77F-01A9234F34B4}">
      <dgm:prSet/>
      <dgm:spPr/>
      <dgm:t>
        <a:bodyPr/>
        <a:lstStyle/>
        <a:p>
          <a:endParaRPr lang="fr-FR"/>
        </a:p>
      </dgm:t>
    </dgm:pt>
    <dgm:pt modelId="{70B527DF-E084-431F-95CC-E0DE5CC95136}" type="sibTrans" cxnId="{2D6D0216-BC27-4FCA-B77F-01A9234F34B4}">
      <dgm:prSet/>
      <dgm:spPr/>
      <dgm:t>
        <a:bodyPr/>
        <a:lstStyle/>
        <a:p>
          <a:endParaRPr lang="fr-FR"/>
        </a:p>
      </dgm:t>
    </dgm:pt>
    <dgm:pt modelId="{387A0301-3425-4C7A-BB02-37AE4FD1B93B}">
      <dgm:prSet phldrT="[Texte]"/>
      <dgm:spPr/>
      <dgm:t>
        <a:bodyPr/>
        <a:lstStyle/>
        <a:p>
          <a:r>
            <a:rPr lang="fr-FR" dirty="0" smtClean="0"/>
            <a:t>Gymnastique Masculine</a:t>
          </a:r>
          <a:endParaRPr lang="fr-FR" dirty="0"/>
        </a:p>
      </dgm:t>
    </dgm:pt>
    <dgm:pt modelId="{142F63C2-71DD-401F-B186-61B2073DA3DC}" type="parTrans" cxnId="{EBAE1F54-F9AD-4CE8-A875-D7F0D18C3780}">
      <dgm:prSet/>
      <dgm:spPr/>
      <dgm:t>
        <a:bodyPr/>
        <a:lstStyle/>
        <a:p>
          <a:endParaRPr lang="fr-FR"/>
        </a:p>
      </dgm:t>
    </dgm:pt>
    <dgm:pt modelId="{AF2375CB-905D-4A9E-A61C-158BAE33E520}" type="sibTrans" cxnId="{EBAE1F54-F9AD-4CE8-A875-D7F0D18C3780}">
      <dgm:prSet/>
      <dgm:spPr/>
      <dgm:t>
        <a:bodyPr/>
        <a:lstStyle/>
        <a:p>
          <a:endParaRPr lang="fr-FR"/>
        </a:p>
      </dgm:t>
    </dgm:pt>
    <dgm:pt modelId="{F7F8EFB1-E37C-4557-84E9-AA6FBE1272F4}" type="pres">
      <dgm:prSet presAssocID="{B81EF0BA-FD53-4214-85B2-9FFCBB0F44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29E2440-7066-488A-B979-955B7AE3D9BA}" type="pres">
      <dgm:prSet presAssocID="{B81EF0BA-FD53-4214-85B2-9FFCBB0F4431}" presName="tSp" presStyleCnt="0"/>
      <dgm:spPr/>
    </dgm:pt>
    <dgm:pt modelId="{5FFD72D9-F02B-4BBF-87BC-BDDE1F53C9A2}" type="pres">
      <dgm:prSet presAssocID="{B81EF0BA-FD53-4214-85B2-9FFCBB0F4431}" presName="bSp" presStyleCnt="0"/>
      <dgm:spPr/>
    </dgm:pt>
    <dgm:pt modelId="{92D5FD64-36AC-4314-B13B-A48D548B7D40}" type="pres">
      <dgm:prSet presAssocID="{B81EF0BA-FD53-4214-85B2-9FFCBB0F4431}" presName="process" presStyleCnt="0"/>
      <dgm:spPr/>
    </dgm:pt>
    <dgm:pt modelId="{DDF9BA0A-B11B-4000-9103-DD50CA3AB9BB}" type="pres">
      <dgm:prSet presAssocID="{F39FBA36-9284-4D5C-BC0F-672728ABFF4D}" presName="composite1" presStyleCnt="0"/>
      <dgm:spPr/>
    </dgm:pt>
    <dgm:pt modelId="{430F6910-59C8-49A0-9F8A-395CA6C8E1EA}" type="pres">
      <dgm:prSet presAssocID="{F39FBA36-9284-4D5C-BC0F-672728ABFF4D}" presName="dummyNode1" presStyleLbl="node1" presStyleIdx="0" presStyleCnt="3"/>
      <dgm:spPr/>
    </dgm:pt>
    <dgm:pt modelId="{A57C8658-965B-4A02-AC2B-436CB5AEBFE8}" type="pres">
      <dgm:prSet presAssocID="{F39FBA36-9284-4D5C-BC0F-672728ABFF4D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6C3BA83-FFEE-4478-B59A-7825B87CB656}" type="pres">
      <dgm:prSet presAssocID="{F39FBA36-9284-4D5C-BC0F-672728ABFF4D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361F2B5-F566-4C4F-8CF9-9FF861B97A95}" type="pres">
      <dgm:prSet presAssocID="{F39FBA36-9284-4D5C-BC0F-672728ABFF4D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1227EC-CF56-4A9D-B53B-D51884D5986D}" type="pres">
      <dgm:prSet presAssocID="{F39FBA36-9284-4D5C-BC0F-672728ABFF4D}" presName="connSite1" presStyleCnt="0"/>
      <dgm:spPr/>
    </dgm:pt>
    <dgm:pt modelId="{DB88FCF4-2DE1-42FF-8E51-C3AE2D2595D3}" type="pres">
      <dgm:prSet presAssocID="{2F369554-C9BB-4DBA-9502-45A313151362}" presName="Name9" presStyleLbl="sibTrans2D1" presStyleIdx="0" presStyleCnt="2"/>
      <dgm:spPr/>
      <dgm:t>
        <a:bodyPr/>
        <a:lstStyle/>
        <a:p>
          <a:endParaRPr lang="fr-FR"/>
        </a:p>
      </dgm:t>
    </dgm:pt>
    <dgm:pt modelId="{D66E0934-1B9E-4BF1-86C6-40DBA8352447}" type="pres">
      <dgm:prSet presAssocID="{470450E9-0ACB-4FF1-AD2D-4673114CE135}" presName="composite2" presStyleCnt="0"/>
      <dgm:spPr/>
    </dgm:pt>
    <dgm:pt modelId="{FE7A6275-2276-4A81-AC6B-75515725E810}" type="pres">
      <dgm:prSet presAssocID="{470450E9-0ACB-4FF1-AD2D-4673114CE135}" presName="dummyNode2" presStyleLbl="node1" presStyleIdx="0" presStyleCnt="3"/>
      <dgm:spPr/>
    </dgm:pt>
    <dgm:pt modelId="{6C45F5F4-F913-4DEB-9F3D-F01F1E4CF6C6}" type="pres">
      <dgm:prSet presAssocID="{470450E9-0ACB-4FF1-AD2D-4673114CE135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3429F44-1CD8-4A8A-B21B-DE06DDDD4039}" type="pres">
      <dgm:prSet presAssocID="{470450E9-0ACB-4FF1-AD2D-4673114CE135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390BC2B-021E-4A02-ABE0-E8EFAA6BA3A4}" type="pres">
      <dgm:prSet presAssocID="{470450E9-0ACB-4FF1-AD2D-4673114CE135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2A5AF6-0121-445B-8E03-E00BCEBAE437}" type="pres">
      <dgm:prSet presAssocID="{470450E9-0ACB-4FF1-AD2D-4673114CE135}" presName="connSite2" presStyleCnt="0"/>
      <dgm:spPr/>
    </dgm:pt>
    <dgm:pt modelId="{46147BC4-DA08-43C4-87F3-5A2B7FA1D0DB}" type="pres">
      <dgm:prSet presAssocID="{E30F7CEB-7DBC-45C1-AAF8-9715EB40D96D}" presName="Name18" presStyleLbl="sibTrans2D1" presStyleIdx="1" presStyleCnt="2"/>
      <dgm:spPr/>
      <dgm:t>
        <a:bodyPr/>
        <a:lstStyle/>
        <a:p>
          <a:endParaRPr lang="fr-FR"/>
        </a:p>
      </dgm:t>
    </dgm:pt>
    <dgm:pt modelId="{37344B64-7500-4585-9D72-7FAEAFA5D38D}" type="pres">
      <dgm:prSet presAssocID="{ED54A4DA-30EE-4633-81E2-017472899CE8}" presName="composite1" presStyleCnt="0"/>
      <dgm:spPr/>
    </dgm:pt>
    <dgm:pt modelId="{3B5EC442-8603-4C80-AF8E-9FB65733359F}" type="pres">
      <dgm:prSet presAssocID="{ED54A4DA-30EE-4633-81E2-017472899CE8}" presName="dummyNode1" presStyleLbl="node1" presStyleIdx="1" presStyleCnt="3"/>
      <dgm:spPr/>
    </dgm:pt>
    <dgm:pt modelId="{7A111A14-D86D-4368-B1A3-B017CE774ECD}" type="pres">
      <dgm:prSet presAssocID="{ED54A4DA-30EE-4633-81E2-017472899CE8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0A9E55-E6F0-47DB-9C40-F385670FF0AE}" type="pres">
      <dgm:prSet presAssocID="{ED54A4DA-30EE-4633-81E2-017472899CE8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D5AED7-2AB2-446B-A3D4-454736791E8C}" type="pres">
      <dgm:prSet presAssocID="{ED54A4DA-30EE-4633-81E2-017472899CE8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D3413A-AC06-4A7D-94C6-132513819055}" type="pres">
      <dgm:prSet presAssocID="{ED54A4DA-30EE-4633-81E2-017472899CE8}" presName="connSite1" presStyleCnt="0"/>
      <dgm:spPr/>
    </dgm:pt>
  </dgm:ptLst>
  <dgm:cxnLst>
    <dgm:cxn modelId="{8D4E355D-49B5-4193-B35D-F23988043616}" type="presOf" srcId="{4472124B-32C5-42FF-A7D8-5DCF263132A4}" destId="{6C45F5F4-F913-4DEB-9F3D-F01F1E4CF6C6}" srcOrd="0" destOrd="1" presId="urn:microsoft.com/office/officeart/2005/8/layout/hProcess4"/>
    <dgm:cxn modelId="{EBAE1F54-F9AD-4CE8-A875-D7F0D18C3780}" srcId="{ED54A4DA-30EE-4633-81E2-017472899CE8}" destId="{387A0301-3425-4C7A-BB02-37AE4FD1B93B}" srcOrd="2" destOrd="0" parTransId="{142F63C2-71DD-401F-B186-61B2073DA3DC}" sibTransId="{AF2375CB-905D-4A9E-A61C-158BAE33E520}"/>
    <dgm:cxn modelId="{D0CD3481-C33F-4C14-9A5A-27D2446522BC}" srcId="{B81EF0BA-FD53-4214-85B2-9FFCBB0F4431}" destId="{ED54A4DA-30EE-4633-81E2-017472899CE8}" srcOrd="2" destOrd="0" parTransId="{3AA76E0B-F200-4B70-86A7-8C1F04E6C01F}" sibTransId="{462FE2DE-381E-42E1-B377-1930168B9B4F}"/>
    <dgm:cxn modelId="{BC865B49-E2C2-4AC6-9CB6-3CD0421ACFDB}" type="presOf" srcId="{26DA51FB-57F9-4AC6-9029-7C5AFB8DF9C6}" destId="{7A111A14-D86D-4368-B1A3-B017CE774ECD}" srcOrd="0" destOrd="1" presId="urn:microsoft.com/office/officeart/2005/8/layout/hProcess4"/>
    <dgm:cxn modelId="{BA82E01B-CA83-4988-AC10-FEDF46724D4F}" type="presOf" srcId="{2BA9D1BD-7A36-4CD5-A97F-ADA8C34BBAED}" destId="{26C3BA83-FFEE-4478-B59A-7825B87CB656}" srcOrd="1" destOrd="1" presId="urn:microsoft.com/office/officeart/2005/8/layout/hProcess4"/>
    <dgm:cxn modelId="{C0668176-B7BE-4A9B-8ACA-87BB340CA4C1}" type="presOf" srcId="{33594A70-BDC9-40A8-844B-5D915A2F95D8}" destId="{C3429F44-1CD8-4A8A-B21B-DE06DDDD4039}" srcOrd="1" destOrd="2" presId="urn:microsoft.com/office/officeart/2005/8/layout/hProcess4"/>
    <dgm:cxn modelId="{C320A615-35CE-4D0B-9338-FF3DB4E0FC56}" type="presOf" srcId="{F39FBA36-9284-4D5C-BC0F-672728ABFF4D}" destId="{E361F2B5-F566-4C4F-8CF9-9FF861B97A95}" srcOrd="0" destOrd="0" presId="urn:microsoft.com/office/officeart/2005/8/layout/hProcess4"/>
    <dgm:cxn modelId="{A7D5737E-5385-4F9D-9325-0AD8C617BEF0}" srcId="{F39FBA36-9284-4D5C-BC0F-672728ABFF4D}" destId="{B35A75BD-4FCE-4F8E-9D3B-9F4197BC7D84}" srcOrd="0" destOrd="0" parTransId="{2C271F12-DD49-4AE0-BC11-B6A06558CFFE}" sibTransId="{0E0E8084-84E2-4286-8124-302E3FB8FEF4}"/>
    <dgm:cxn modelId="{A3689B37-B141-4EFC-B297-F477DEEB113F}" type="presOf" srcId="{30F4BCD5-C415-4D9D-AAD5-9F01B1650A3A}" destId="{C3429F44-1CD8-4A8A-B21B-DE06DDDD4039}" srcOrd="1" destOrd="0" presId="urn:microsoft.com/office/officeart/2005/8/layout/hProcess4"/>
    <dgm:cxn modelId="{EF4B1C5B-74C6-40CA-A6AD-78AD1BC93D3C}" type="presOf" srcId="{387A0301-3425-4C7A-BB02-37AE4FD1B93B}" destId="{6B0A9E55-E6F0-47DB-9C40-F385670FF0AE}" srcOrd="1" destOrd="2" presId="urn:microsoft.com/office/officeart/2005/8/layout/hProcess4"/>
    <dgm:cxn modelId="{D6519FC2-F15E-462E-B1C6-F7FF2FC13E1C}" type="presOf" srcId="{FF23E246-376D-46F7-BC79-4589754B031D}" destId="{6B0A9E55-E6F0-47DB-9C40-F385670FF0AE}" srcOrd="1" destOrd="0" presId="urn:microsoft.com/office/officeart/2005/8/layout/hProcess4"/>
    <dgm:cxn modelId="{3E850EF1-082B-409D-B3BD-51E678CE9765}" srcId="{F39FBA36-9284-4D5C-BC0F-672728ABFF4D}" destId="{2BA9D1BD-7A36-4CD5-A97F-ADA8C34BBAED}" srcOrd="1" destOrd="0" parTransId="{931B660F-F6D8-43BF-AF7A-FD036337344F}" sibTransId="{343C4578-4789-4D17-88F4-0E55D36235D5}"/>
    <dgm:cxn modelId="{62344722-2915-4F4F-A12C-B89869236EC8}" type="presOf" srcId="{D3D4F911-0D29-4D2C-8FBF-3E5187C6BC7C}" destId="{A57C8658-965B-4A02-AC2B-436CB5AEBFE8}" srcOrd="0" destOrd="2" presId="urn:microsoft.com/office/officeart/2005/8/layout/hProcess4"/>
    <dgm:cxn modelId="{A6FF6AF5-FFAD-42D0-A705-E94C9C791B20}" type="presOf" srcId="{E30F7CEB-7DBC-45C1-AAF8-9715EB40D96D}" destId="{46147BC4-DA08-43C4-87F3-5A2B7FA1D0DB}" srcOrd="0" destOrd="0" presId="urn:microsoft.com/office/officeart/2005/8/layout/hProcess4"/>
    <dgm:cxn modelId="{844FB0EC-C5B9-4051-B000-86B1ADC22F44}" srcId="{B81EF0BA-FD53-4214-85B2-9FFCBB0F4431}" destId="{F39FBA36-9284-4D5C-BC0F-672728ABFF4D}" srcOrd="0" destOrd="0" parTransId="{45DC417E-4EFD-4139-BF09-9F19D9CF0B72}" sibTransId="{2F369554-C9BB-4DBA-9502-45A313151362}"/>
    <dgm:cxn modelId="{92D32F20-6DF0-4AF4-8CA5-C976BF3A85A0}" type="presOf" srcId="{B81EF0BA-FD53-4214-85B2-9FFCBB0F4431}" destId="{F7F8EFB1-E37C-4557-84E9-AA6FBE1272F4}" srcOrd="0" destOrd="0" presId="urn:microsoft.com/office/officeart/2005/8/layout/hProcess4"/>
    <dgm:cxn modelId="{EC807D1C-D3BB-4D62-8324-1642EF714682}" type="presOf" srcId="{30F4BCD5-C415-4D9D-AAD5-9F01B1650A3A}" destId="{6C45F5F4-F913-4DEB-9F3D-F01F1E4CF6C6}" srcOrd="0" destOrd="0" presId="urn:microsoft.com/office/officeart/2005/8/layout/hProcess4"/>
    <dgm:cxn modelId="{5FF17B29-930F-4E09-83A6-602DA71B49EE}" type="presOf" srcId="{387A0301-3425-4C7A-BB02-37AE4FD1B93B}" destId="{7A111A14-D86D-4368-B1A3-B017CE774ECD}" srcOrd="0" destOrd="2" presId="urn:microsoft.com/office/officeart/2005/8/layout/hProcess4"/>
    <dgm:cxn modelId="{40CF0A38-F138-4309-9EEC-9054203E6B91}" type="presOf" srcId="{470450E9-0ACB-4FF1-AD2D-4673114CE135}" destId="{6390BC2B-021E-4A02-ABE0-E8EFAA6BA3A4}" srcOrd="0" destOrd="0" presId="urn:microsoft.com/office/officeart/2005/8/layout/hProcess4"/>
    <dgm:cxn modelId="{5D839A47-563D-4657-B655-15E677A3204E}" srcId="{B81EF0BA-FD53-4214-85B2-9FFCBB0F4431}" destId="{470450E9-0ACB-4FF1-AD2D-4673114CE135}" srcOrd="1" destOrd="0" parTransId="{7C20824D-E043-42A9-87AE-4D561F88CE3D}" sibTransId="{E30F7CEB-7DBC-45C1-AAF8-9715EB40D96D}"/>
    <dgm:cxn modelId="{2DA3B34A-DAF5-4593-9D5E-1BC3DF3C3CA1}" type="presOf" srcId="{2F369554-C9BB-4DBA-9502-45A313151362}" destId="{DB88FCF4-2DE1-42FF-8E51-C3AE2D2595D3}" srcOrd="0" destOrd="0" presId="urn:microsoft.com/office/officeart/2005/8/layout/hProcess4"/>
    <dgm:cxn modelId="{2D6D0216-BC27-4FCA-B77F-01A9234F34B4}" srcId="{ED54A4DA-30EE-4633-81E2-017472899CE8}" destId="{26DA51FB-57F9-4AC6-9029-7C5AFB8DF9C6}" srcOrd="1" destOrd="0" parTransId="{53BB948F-AAE2-421B-8E2E-ACC1BC517074}" sibTransId="{70B527DF-E084-431F-95CC-E0DE5CC95136}"/>
    <dgm:cxn modelId="{75DBF894-6D99-4DBE-890B-882133C40C00}" srcId="{470450E9-0ACB-4FF1-AD2D-4673114CE135}" destId="{33594A70-BDC9-40A8-844B-5D915A2F95D8}" srcOrd="2" destOrd="0" parTransId="{802E770A-5ADD-4DEC-87C2-F4D27DE5AEB2}" sibTransId="{2DA79424-4531-47E3-B08B-786015CC46A5}"/>
    <dgm:cxn modelId="{30117903-B11A-48DC-A87A-B289CD0DE04E}" type="presOf" srcId="{B35A75BD-4FCE-4F8E-9D3B-9F4197BC7D84}" destId="{26C3BA83-FFEE-4478-B59A-7825B87CB656}" srcOrd="1" destOrd="0" presId="urn:microsoft.com/office/officeart/2005/8/layout/hProcess4"/>
    <dgm:cxn modelId="{84D6F772-AA5C-41F6-9524-E44B4A3CDDFE}" type="presOf" srcId="{4472124B-32C5-42FF-A7D8-5DCF263132A4}" destId="{C3429F44-1CD8-4A8A-B21B-DE06DDDD4039}" srcOrd="1" destOrd="1" presId="urn:microsoft.com/office/officeart/2005/8/layout/hProcess4"/>
    <dgm:cxn modelId="{B20CC7CB-AD9F-4C04-AC65-9ED13FD975A3}" type="presOf" srcId="{B35A75BD-4FCE-4F8E-9D3B-9F4197BC7D84}" destId="{A57C8658-965B-4A02-AC2B-436CB5AEBFE8}" srcOrd="0" destOrd="0" presId="urn:microsoft.com/office/officeart/2005/8/layout/hProcess4"/>
    <dgm:cxn modelId="{27EB9576-B39C-4060-82E5-F4FE696DD98F}" type="presOf" srcId="{ED54A4DA-30EE-4633-81E2-017472899CE8}" destId="{6ED5AED7-2AB2-446B-A3D4-454736791E8C}" srcOrd="0" destOrd="0" presId="urn:microsoft.com/office/officeart/2005/8/layout/hProcess4"/>
    <dgm:cxn modelId="{415A9B24-9792-4527-A286-B422DD64D891}" srcId="{470450E9-0ACB-4FF1-AD2D-4673114CE135}" destId="{4472124B-32C5-42FF-A7D8-5DCF263132A4}" srcOrd="1" destOrd="0" parTransId="{FEF37F89-4BFF-4EA3-B923-463CFDFF6A4E}" sibTransId="{A1DB856B-9493-4123-9A51-995625406246}"/>
    <dgm:cxn modelId="{53B703AF-6CD8-466E-B5A0-A87108F05C9E}" type="presOf" srcId="{2BA9D1BD-7A36-4CD5-A97F-ADA8C34BBAED}" destId="{A57C8658-965B-4A02-AC2B-436CB5AEBFE8}" srcOrd="0" destOrd="1" presId="urn:microsoft.com/office/officeart/2005/8/layout/hProcess4"/>
    <dgm:cxn modelId="{A0D3D5FE-A40B-4419-A233-4626915FDE71}" srcId="{470450E9-0ACB-4FF1-AD2D-4673114CE135}" destId="{30F4BCD5-C415-4D9D-AAD5-9F01B1650A3A}" srcOrd="0" destOrd="0" parTransId="{D86C80A6-56EF-4339-9DDA-D814D9B97821}" sibTransId="{9F209C1C-914A-4E65-9C6D-5F563558AD44}"/>
    <dgm:cxn modelId="{D52E9B45-88B5-479C-95A2-EA8084DDA648}" type="presOf" srcId="{D3D4F911-0D29-4D2C-8FBF-3E5187C6BC7C}" destId="{26C3BA83-FFEE-4478-B59A-7825B87CB656}" srcOrd="1" destOrd="2" presId="urn:microsoft.com/office/officeart/2005/8/layout/hProcess4"/>
    <dgm:cxn modelId="{B90383CB-248D-4A7A-B18B-0DEC05FA6D10}" srcId="{ED54A4DA-30EE-4633-81E2-017472899CE8}" destId="{FF23E246-376D-46F7-BC79-4589754B031D}" srcOrd="0" destOrd="0" parTransId="{D53961B2-8A43-407F-8619-8DD229AD479F}" sibTransId="{DD939C10-55D5-43E9-8BC4-FDF1F3AE19D6}"/>
    <dgm:cxn modelId="{1AD3EE15-3401-4682-9E10-1D8348410CCD}" srcId="{F39FBA36-9284-4D5C-BC0F-672728ABFF4D}" destId="{D3D4F911-0D29-4D2C-8FBF-3E5187C6BC7C}" srcOrd="2" destOrd="0" parTransId="{B538D1D7-21F5-4644-A316-57C178AA0BB6}" sibTransId="{471E879E-BEDE-4A32-AE11-BAB78502A613}"/>
    <dgm:cxn modelId="{58637DF8-D366-4CE1-A714-C834AD061963}" type="presOf" srcId="{26DA51FB-57F9-4AC6-9029-7C5AFB8DF9C6}" destId="{6B0A9E55-E6F0-47DB-9C40-F385670FF0AE}" srcOrd="1" destOrd="1" presId="urn:microsoft.com/office/officeart/2005/8/layout/hProcess4"/>
    <dgm:cxn modelId="{9E4A3011-4311-4443-BCE2-C9EA5EA0CA5A}" type="presOf" srcId="{33594A70-BDC9-40A8-844B-5D915A2F95D8}" destId="{6C45F5F4-F913-4DEB-9F3D-F01F1E4CF6C6}" srcOrd="0" destOrd="2" presId="urn:microsoft.com/office/officeart/2005/8/layout/hProcess4"/>
    <dgm:cxn modelId="{E29C11D0-98B1-457E-8ED4-0E5452B961D3}" type="presOf" srcId="{FF23E246-376D-46F7-BC79-4589754B031D}" destId="{7A111A14-D86D-4368-B1A3-B017CE774ECD}" srcOrd="0" destOrd="0" presId="urn:microsoft.com/office/officeart/2005/8/layout/hProcess4"/>
    <dgm:cxn modelId="{113CB581-B6AB-4920-9741-6A46BB57492C}" type="presParOf" srcId="{F7F8EFB1-E37C-4557-84E9-AA6FBE1272F4}" destId="{929E2440-7066-488A-B979-955B7AE3D9BA}" srcOrd="0" destOrd="0" presId="urn:microsoft.com/office/officeart/2005/8/layout/hProcess4"/>
    <dgm:cxn modelId="{D13A27EE-9179-4208-8CEC-BF9DE0CE7977}" type="presParOf" srcId="{F7F8EFB1-E37C-4557-84E9-AA6FBE1272F4}" destId="{5FFD72D9-F02B-4BBF-87BC-BDDE1F53C9A2}" srcOrd="1" destOrd="0" presId="urn:microsoft.com/office/officeart/2005/8/layout/hProcess4"/>
    <dgm:cxn modelId="{5198F876-5B9D-41BC-9440-3D2A5D7DF8A6}" type="presParOf" srcId="{F7F8EFB1-E37C-4557-84E9-AA6FBE1272F4}" destId="{92D5FD64-36AC-4314-B13B-A48D548B7D40}" srcOrd="2" destOrd="0" presId="urn:microsoft.com/office/officeart/2005/8/layout/hProcess4"/>
    <dgm:cxn modelId="{97C1240F-410F-4D61-8BB2-8257A5C2FBE1}" type="presParOf" srcId="{92D5FD64-36AC-4314-B13B-A48D548B7D40}" destId="{DDF9BA0A-B11B-4000-9103-DD50CA3AB9BB}" srcOrd="0" destOrd="0" presId="urn:microsoft.com/office/officeart/2005/8/layout/hProcess4"/>
    <dgm:cxn modelId="{E4AE1514-BF9D-46B4-AFDC-D7D3B7D77CCD}" type="presParOf" srcId="{DDF9BA0A-B11B-4000-9103-DD50CA3AB9BB}" destId="{430F6910-59C8-49A0-9F8A-395CA6C8E1EA}" srcOrd="0" destOrd="0" presId="urn:microsoft.com/office/officeart/2005/8/layout/hProcess4"/>
    <dgm:cxn modelId="{770A7289-0585-4774-92F3-7DDC21F14CE7}" type="presParOf" srcId="{DDF9BA0A-B11B-4000-9103-DD50CA3AB9BB}" destId="{A57C8658-965B-4A02-AC2B-436CB5AEBFE8}" srcOrd="1" destOrd="0" presId="urn:microsoft.com/office/officeart/2005/8/layout/hProcess4"/>
    <dgm:cxn modelId="{F13477FE-46EA-422F-ACAC-61AE7F0A4E9D}" type="presParOf" srcId="{DDF9BA0A-B11B-4000-9103-DD50CA3AB9BB}" destId="{26C3BA83-FFEE-4478-B59A-7825B87CB656}" srcOrd="2" destOrd="0" presId="urn:microsoft.com/office/officeart/2005/8/layout/hProcess4"/>
    <dgm:cxn modelId="{C520E153-EB4F-4E58-A206-B491C82979B6}" type="presParOf" srcId="{DDF9BA0A-B11B-4000-9103-DD50CA3AB9BB}" destId="{E361F2B5-F566-4C4F-8CF9-9FF861B97A95}" srcOrd="3" destOrd="0" presId="urn:microsoft.com/office/officeart/2005/8/layout/hProcess4"/>
    <dgm:cxn modelId="{14314E75-9DF2-4E6E-8D5C-0AC7DA0640A0}" type="presParOf" srcId="{DDF9BA0A-B11B-4000-9103-DD50CA3AB9BB}" destId="{CE1227EC-CF56-4A9D-B53B-D51884D5986D}" srcOrd="4" destOrd="0" presId="urn:microsoft.com/office/officeart/2005/8/layout/hProcess4"/>
    <dgm:cxn modelId="{E56AF852-AE49-4253-9F90-504DB36404C7}" type="presParOf" srcId="{92D5FD64-36AC-4314-B13B-A48D548B7D40}" destId="{DB88FCF4-2DE1-42FF-8E51-C3AE2D2595D3}" srcOrd="1" destOrd="0" presId="urn:microsoft.com/office/officeart/2005/8/layout/hProcess4"/>
    <dgm:cxn modelId="{7D03F922-5150-4125-B777-C8A77FF76752}" type="presParOf" srcId="{92D5FD64-36AC-4314-B13B-A48D548B7D40}" destId="{D66E0934-1B9E-4BF1-86C6-40DBA8352447}" srcOrd="2" destOrd="0" presId="urn:microsoft.com/office/officeart/2005/8/layout/hProcess4"/>
    <dgm:cxn modelId="{44D3A31D-AD4A-4771-8690-6657B294F0CC}" type="presParOf" srcId="{D66E0934-1B9E-4BF1-86C6-40DBA8352447}" destId="{FE7A6275-2276-4A81-AC6B-75515725E810}" srcOrd="0" destOrd="0" presId="urn:microsoft.com/office/officeart/2005/8/layout/hProcess4"/>
    <dgm:cxn modelId="{3B93F7D1-9DA7-4971-92BC-0AE3A427F792}" type="presParOf" srcId="{D66E0934-1B9E-4BF1-86C6-40DBA8352447}" destId="{6C45F5F4-F913-4DEB-9F3D-F01F1E4CF6C6}" srcOrd="1" destOrd="0" presId="urn:microsoft.com/office/officeart/2005/8/layout/hProcess4"/>
    <dgm:cxn modelId="{EB58A276-B187-448D-86C2-05849C0118AE}" type="presParOf" srcId="{D66E0934-1B9E-4BF1-86C6-40DBA8352447}" destId="{C3429F44-1CD8-4A8A-B21B-DE06DDDD4039}" srcOrd="2" destOrd="0" presId="urn:microsoft.com/office/officeart/2005/8/layout/hProcess4"/>
    <dgm:cxn modelId="{348E6779-2F19-4FB1-9574-71D1730851AC}" type="presParOf" srcId="{D66E0934-1B9E-4BF1-86C6-40DBA8352447}" destId="{6390BC2B-021E-4A02-ABE0-E8EFAA6BA3A4}" srcOrd="3" destOrd="0" presId="urn:microsoft.com/office/officeart/2005/8/layout/hProcess4"/>
    <dgm:cxn modelId="{FA430F0B-FD1E-475E-A60E-31DB9F7F39C8}" type="presParOf" srcId="{D66E0934-1B9E-4BF1-86C6-40DBA8352447}" destId="{772A5AF6-0121-445B-8E03-E00BCEBAE437}" srcOrd="4" destOrd="0" presId="urn:microsoft.com/office/officeart/2005/8/layout/hProcess4"/>
    <dgm:cxn modelId="{AC1AEBBD-E00B-430F-A4DF-007070B04133}" type="presParOf" srcId="{92D5FD64-36AC-4314-B13B-A48D548B7D40}" destId="{46147BC4-DA08-43C4-87F3-5A2B7FA1D0DB}" srcOrd="3" destOrd="0" presId="urn:microsoft.com/office/officeart/2005/8/layout/hProcess4"/>
    <dgm:cxn modelId="{EAD01BE8-FB8A-4D17-A6F8-B2424179183D}" type="presParOf" srcId="{92D5FD64-36AC-4314-B13B-A48D548B7D40}" destId="{37344B64-7500-4585-9D72-7FAEAFA5D38D}" srcOrd="4" destOrd="0" presId="urn:microsoft.com/office/officeart/2005/8/layout/hProcess4"/>
    <dgm:cxn modelId="{15625E8A-2F4E-41ED-B0E0-211C77ACAF00}" type="presParOf" srcId="{37344B64-7500-4585-9D72-7FAEAFA5D38D}" destId="{3B5EC442-8603-4C80-AF8E-9FB65733359F}" srcOrd="0" destOrd="0" presId="urn:microsoft.com/office/officeart/2005/8/layout/hProcess4"/>
    <dgm:cxn modelId="{D8B52B46-47F5-4980-9BEC-E47C6DE9BA88}" type="presParOf" srcId="{37344B64-7500-4585-9D72-7FAEAFA5D38D}" destId="{7A111A14-D86D-4368-B1A3-B017CE774ECD}" srcOrd="1" destOrd="0" presId="urn:microsoft.com/office/officeart/2005/8/layout/hProcess4"/>
    <dgm:cxn modelId="{B0920B5E-4E2D-4905-A3A6-767BAF7BC5F5}" type="presParOf" srcId="{37344B64-7500-4585-9D72-7FAEAFA5D38D}" destId="{6B0A9E55-E6F0-47DB-9C40-F385670FF0AE}" srcOrd="2" destOrd="0" presId="urn:microsoft.com/office/officeart/2005/8/layout/hProcess4"/>
    <dgm:cxn modelId="{31A7C63E-9136-4311-ABB7-8F20E281FD07}" type="presParOf" srcId="{37344B64-7500-4585-9D72-7FAEAFA5D38D}" destId="{6ED5AED7-2AB2-446B-A3D4-454736791E8C}" srcOrd="3" destOrd="0" presId="urn:microsoft.com/office/officeart/2005/8/layout/hProcess4"/>
    <dgm:cxn modelId="{FE63CC42-D7F7-42B7-B5FB-32A1B942DD9C}" type="presParOf" srcId="{37344B64-7500-4585-9D72-7FAEAFA5D38D}" destId="{2ED3413A-AC06-4A7D-94C6-132513819055}" srcOrd="4" destOrd="0" presId="urn:microsoft.com/office/officeart/2005/8/layout/hProcess4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81EF0BA-FD53-4214-85B2-9FFCBB0F4431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39FBA36-9284-4D5C-BC0F-672728ABFF4D}">
      <dgm:prSet phldrT="[Texte]"/>
      <dgm:spPr/>
      <dgm:t>
        <a:bodyPr/>
        <a:lstStyle/>
        <a:p>
          <a:r>
            <a:rPr lang="fr-FR" dirty="0" smtClean="0"/>
            <a:t>2015-2016</a:t>
          </a:r>
          <a:endParaRPr lang="fr-FR" dirty="0"/>
        </a:p>
      </dgm:t>
    </dgm:pt>
    <dgm:pt modelId="{45DC417E-4EFD-4139-BF09-9F19D9CF0B72}" type="parTrans" cxnId="{844FB0EC-C5B9-4051-B000-86B1ADC22F44}">
      <dgm:prSet/>
      <dgm:spPr/>
      <dgm:t>
        <a:bodyPr/>
        <a:lstStyle/>
        <a:p>
          <a:endParaRPr lang="fr-FR"/>
        </a:p>
      </dgm:t>
    </dgm:pt>
    <dgm:pt modelId="{2F369554-C9BB-4DBA-9502-45A313151362}" type="sibTrans" cxnId="{844FB0EC-C5B9-4051-B000-86B1ADC22F44}">
      <dgm:prSet/>
      <dgm:spPr/>
      <dgm:t>
        <a:bodyPr/>
        <a:lstStyle/>
        <a:p>
          <a:endParaRPr lang="fr-FR"/>
        </a:p>
      </dgm:t>
    </dgm:pt>
    <dgm:pt modelId="{B35A75BD-4FCE-4F8E-9D3B-9F4197BC7D84}">
      <dgm:prSet phldrT="[Texte]"/>
      <dgm:spPr/>
      <dgm:t>
        <a:bodyPr/>
        <a:lstStyle/>
        <a:p>
          <a:r>
            <a:rPr lang="fr-FR" dirty="0" smtClean="0"/>
            <a:t>Refonte site WEB et présence sur </a:t>
          </a:r>
          <a:r>
            <a:rPr lang="fr-FR" dirty="0" err="1" smtClean="0"/>
            <a:t>Facebook</a:t>
          </a:r>
          <a:endParaRPr lang="fr-FR" dirty="0"/>
        </a:p>
      </dgm:t>
    </dgm:pt>
    <dgm:pt modelId="{2C271F12-DD49-4AE0-BC11-B6A06558CFFE}" type="parTrans" cxnId="{A7D5737E-5385-4F9D-9325-0AD8C617BEF0}">
      <dgm:prSet/>
      <dgm:spPr/>
      <dgm:t>
        <a:bodyPr/>
        <a:lstStyle/>
        <a:p>
          <a:endParaRPr lang="fr-FR"/>
        </a:p>
      </dgm:t>
    </dgm:pt>
    <dgm:pt modelId="{0E0E8084-84E2-4286-8124-302E3FB8FEF4}" type="sibTrans" cxnId="{A7D5737E-5385-4F9D-9325-0AD8C617BEF0}">
      <dgm:prSet/>
      <dgm:spPr/>
      <dgm:t>
        <a:bodyPr/>
        <a:lstStyle/>
        <a:p>
          <a:endParaRPr lang="fr-FR"/>
        </a:p>
      </dgm:t>
    </dgm:pt>
    <dgm:pt modelId="{470450E9-0ACB-4FF1-AD2D-4673114CE135}">
      <dgm:prSet phldrT="[Texte]"/>
      <dgm:spPr/>
      <dgm:t>
        <a:bodyPr/>
        <a:lstStyle/>
        <a:p>
          <a:r>
            <a:rPr lang="fr-FR" dirty="0" smtClean="0"/>
            <a:t>2016-2017</a:t>
          </a:r>
          <a:endParaRPr lang="fr-FR" dirty="0"/>
        </a:p>
      </dgm:t>
    </dgm:pt>
    <dgm:pt modelId="{7C20824D-E043-42A9-87AE-4D561F88CE3D}" type="parTrans" cxnId="{5D839A47-563D-4657-B655-15E677A3204E}">
      <dgm:prSet/>
      <dgm:spPr/>
      <dgm:t>
        <a:bodyPr/>
        <a:lstStyle/>
        <a:p>
          <a:endParaRPr lang="fr-FR"/>
        </a:p>
      </dgm:t>
    </dgm:pt>
    <dgm:pt modelId="{E30F7CEB-7DBC-45C1-AAF8-9715EB40D96D}" type="sibTrans" cxnId="{5D839A47-563D-4657-B655-15E677A3204E}">
      <dgm:prSet/>
      <dgm:spPr/>
      <dgm:t>
        <a:bodyPr/>
        <a:lstStyle/>
        <a:p>
          <a:endParaRPr lang="fr-FR"/>
        </a:p>
      </dgm:t>
    </dgm:pt>
    <dgm:pt modelId="{30F4BCD5-C415-4D9D-AAD5-9F01B1650A3A}">
      <dgm:prSet phldrT="[Texte]" custT="1"/>
      <dgm:spPr/>
      <dgm:t>
        <a:bodyPr/>
        <a:lstStyle/>
        <a:p>
          <a:r>
            <a:rPr lang="fr-FR" sz="1000" dirty="0" smtClean="0"/>
            <a:t>Optimiser le fonctionnement du CA</a:t>
          </a:r>
          <a:endParaRPr lang="fr-FR" sz="1000" dirty="0"/>
        </a:p>
      </dgm:t>
    </dgm:pt>
    <dgm:pt modelId="{D86C80A6-56EF-4339-9DDA-D814D9B97821}" type="parTrans" cxnId="{A0D3D5FE-A40B-4419-A233-4626915FDE71}">
      <dgm:prSet/>
      <dgm:spPr/>
      <dgm:t>
        <a:bodyPr/>
        <a:lstStyle/>
        <a:p>
          <a:endParaRPr lang="fr-FR"/>
        </a:p>
      </dgm:t>
    </dgm:pt>
    <dgm:pt modelId="{9F209C1C-914A-4E65-9C6D-5F563558AD44}" type="sibTrans" cxnId="{A0D3D5FE-A40B-4419-A233-4626915FDE71}">
      <dgm:prSet/>
      <dgm:spPr/>
      <dgm:t>
        <a:bodyPr/>
        <a:lstStyle/>
        <a:p>
          <a:endParaRPr lang="fr-FR"/>
        </a:p>
      </dgm:t>
    </dgm:pt>
    <dgm:pt modelId="{ED54A4DA-30EE-4633-81E2-017472899CE8}">
      <dgm:prSet phldrT="[Texte]"/>
      <dgm:spPr/>
      <dgm:t>
        <a:bodyPr/>
        <a:lstStyle/>
        <a:p>
          <a:r>
            <a:rPr lang="fr-FR" dirty="0" smtClean="0"/>
            <a:t>2017-2018</a:t>
          </a:r>
          <a:endParaRPr lang="fr-FR" dirty="0"/>
        </a:p>
      </dgm:t>
    </dgm:pt>
    <dgm:pt modelId="{3AA76E0B-F200-4B70-86A7-8C1F04E6C01F}" type="parTrans" cxnId="{D0CD3481-C33F-4C14-9A5A-27D2446522BC}">
      <dgm:prSet/>
      <dgm:spPr/>
      <dgm:t>
        <a:bodyPr/>
        <a:lstStyle/>
        <a:p>
          <a:endParaRPr lang="fr-FR"/>
        </a:p>
      </dgm:t>
    </dgm:pt>
    <dgm:pt modelId="{462FE2DE-381E-42E1-B377-1930168B9B4F}" type="sibTrans" cxnId="{D0CD3481-C33F-4C14-9A5A-27D2446522BC}">
      <dgm:prSet/>
      <dgm:spPr/>
      <dgm:t>
        <a:bodyPr/>
        <a:lstStyle/>
        <a:p>
          <a:endParaRPr lang="fr-FR"/>
        </a:p>
      </dgm:t>
    </dgm:pt>
    <dgm:pt modelId="{FF23E246-376D-46F7-BC79-4589754B031D}">
      <dgm:prSet phldrT="[Texte]" custT="1"/>
      <dgm:spPr/>
      <dgm:t>
        <a:bodyPr/>
        <a:lstStyle/>
        <a:p>
          <a:r>
            <a:rPr lang="fr-FR" sz="1200" dirty="0" smtClean="0"/>
            <a:t>Optimiser le fonctionnement du CA</a:t>
          </a:r>
          <a:endParaRPr lang="fr-FR" sz="1200" dirty="0"/>
        </a:p>
      </dgm:t>
    </dgm:pt>
    <dgm:pt modelId="{D53961B2-8A43-407F-8619-8DD229AD479F}" type="parTrans" cxnId="{B90383CB-248D-4A7A-B18B-0DEC05FA6D10}">
      <dgm:prSet/>
      <dgm:spPr/>
      <dgm:t>
        <a:bodyPr/>
        <a:lstStyle/>
        <a:p>
          <a:endParaRPr lang="fr-FR"/>
        </a:p>
      </dgm:t>
    </dgm:pt>
    <dgm:pt modelId="{DD939C10-55D5-43E9-8BC4-FDF1F3AE19D6}" type="sibTrans" cxnId="{B90383CB-248D-4A7A-B18B-0DEC05FA6D10}">
      <dgm:prSet/>
      <dgm:spPr/>
      <dgm:t>
        <a:bodyPr/>
        <a:lstStyle/>
        <a:p>
          <a:endParaRPr lang="fr-FR"/>
        </a:p>
      </dgm:t>
    </dgm:pt>
    <dgm:pt modelId="{B848A6AA-E72F-419C-ACD9-657A11A6E8C2}">
      <dgm:prSet/>
      <dgm:spPr/>
      <dgm:t>
        <a:bodyPr/>
        <a:lstStyle/>
        <a:p>
          <a:r>
            <a:rPr lang="fr-FR" dirty="0" smtClean="0"/>
            <a:t>Réussir la communication de rentrée 2016-2017</a:t>
          </a:r>
        </a:p>
      </dgm:t>
    </dgm:pt>
    <dgm:pt modelId="{DCE1DD5E-9DDC-4215-819A-B226AF820492}" type="parTrans" cxnId="{740ADA46-57C5-4FE8-A3E4-303874908700}">
      <dgm:prSet/>
      <dgm:spPr/>
      <dgm:t>
        <a:bodyPr/>
        <a:lstStyle/>
        <a:p>
          <a:endParaRPr lang="fr-FR"/>
        </a:p>
      </dgm:t>
    </dgm:pt>
    <dgm:pt modelId="{AAE26AC1-9F16-416E-9948-D2AFE5AD613F}" type="sibTrans" cxnId="{740ADA46-57C5-4FE8-A3E4-303874908700}">
      <dgm:prSet/>
      <dgm:spPr/>
      <dgm:t>
        <a:bodyPr/>
        <a:lstStyle/>
        <a:p>
          <a:endParaRPr lang="fr-FR"/>
        </a:p>
      </dgm:t>
    </dgm:pt>
    <dgm:pt modelId="{AB721988-E539-43A5-83C4-6E8B19EB07A1}">
      <dgm:prSet/>
      <dgm:spPr/>
      <dgm:t>
        <a:bodyPr/>
        <a:lstStyle/>
        <a:p>
          <a:r>
            <a:rPr lang="fr-FR" dirty="0" smtClean="0"/>
            <a:t>Mise en place d’un règlement intérieur</a:t>
          </a:r>
        </a:p>
      </dgm:t>
    </dgm:pt>
    <dgm:pt modelId="{3ED2798D-DFAD-4095-9AFA-65F80AAF0597}" type="parTrans" cxnId="{085F6EA2-EA44-4FA6-98A4-D5B56C0D8FF0}">
      <dgm:prSet/>
      <dgm:spPr/>
      <dgm:t>
        <a:bodyPr/>
        <a:lstStyle/>
        <a:p>
          <a:endParaRPr lang="fr-FR"/>
        </a:p>
      </dgm:t>
    </dgm:pt>
    <dgm:pt modelId="{8953FAAD-902E-431F-A401-C055A2DA0546}" type="sibTrans" cxnId="{085F6EA2-EA44-4FA6-98A4-D5B56C0D8FF0}">
      <dgm:prSet/>
      <dgm:spPr/>
      <dgm:t>
        <a:bodyPr/>
        <a:lstStyle/>
        <a:p>
          <a:endParaRPr lang="fr-FR"/>
        </a:p>
      </dgm:t>
    </dgm:pt>
    <dgm:pt modelId="{829DCB77-35B0-4E1A-9787-D353BBF099A8}">
      <dgm:prSet custT="1"/>
      <dgm:spPr/>
      <dgm:t>
        <a:bodyPr/>
        <a:lstStyle/>
        <a:p>
          <a:r>
            <a:rPr lang="fr-FR" sz="1000" dirty="0" smtClean="0"/>
            <a:t>Administrer et faire vivre le site Web et la page </a:t>
          </a:r>
          <a:r>
            <a:rPr lang="fr-FR" sz="1000" dirty="0" err="1" smtClean="0"/>
            <a:t>Facebook</a:t>
          </a:r>
          <a:endParaRPr lang="fr-FR" sz="1000" dirty="0"/>
        </a:p>
      </dgm:t>
    </dgm:pt>
    <dgm:pt modelId="{67889304-82AC-4D1E-BB80-83913BDF9D3F}" type="parTrans" cxnId="{D8D86770-2B89-48BA-8D78-712B2EF48482}">
      <dgm:prSet/>
      <dgm:spPr/>
      <dgm:t>
        <a:bodyPr/>
        <a:lstStyle/>
        <a:p>
          <a:endParaRPr lang="fr-FR"/>
        </a:p>
      </dgm:t>
    </dgm:pt>
    <dgm:pt modelId="{1E03F6AA-1770-43F4-81E5-F124DD7AE3B1}" type="sibTrans" cxnId="{D8D86770-2B89-48BA-8D78-712B2EF48482}">
      <dgm:prSet/>
      <dgm:spPr/>
      <dgm:t>
        <a:bodyPr/>
        <a:lstStyle/>
        <a:p>
          <a:endParaRPr lang="fr-FR"/>
        </a:p>
      </dgm:t>
    </dgm:pt>
    <dgm:pt modelId="{4FC5C4F6-C942-4BCF-83DB-D37E69BC4188}">
      <dgm:prSet custT="1"/>
      <dgm:spPr/>
      <dgm:t>
        <a:bodyPr/>
        <a:lstStyle/>
        <a:p>
          <a:r>
            <a:rPr lang="fr-FR" sz="1000" dirty="0" smtClean="0"/>
            <a:t>Construire un plan de formation </a:t>
          </a:r>
          <a:endParaRPr lang="fr-FR" sz="1000" dirty="0"/>
        </a:p>
      </dgm:t>
    </dgm:pt>
    <dgm:pt modelId="{28A56D69-D174-4996-8473-169D2E7167E6}" type="parTrans" cxnId="{01ADE5B3-1FB3-4D87-8EA1-E2968FFDE21C}">
      <dgm:prSet/>
      <dgm:spPr/>
      <dgm:t>
        <a:bodyPr/>
        <a:lstStyle/>
        <a:p>
          <a:endParaRPr lang="fr-FR"/>
        </a:p>
      </dgm:t>
    </dgm:pt>
    <dgm:pt modelId="{5754393B-8406-4C8C-9A60-F6F1DBFAF503}" type="sibTrans" cxnId="{01ADE5B3-1FB3-4D87-8EA1-E2968FFDE21C}">
      <dgm:prSet/>
      <dgm:spPr/>
      <dgm:t>
        <a:bodyPr/>
        <a:lstStyle/>
        <a:p>
          <a:endParaRPr lang="fr-FR"/>
        </a:p>
      </dgm:t>
    </dgm:pt>
    <dgm:pt modelId="{2AD466C7-F6DA-4B5C-81F8-87BAC6037431}">
      <dgm:prSet custT="1"/>
      <dgm:spPr/>
      <dgm:t>
        <a:bodyPr/>
        <a:lstStyle/>
        <a:p>
          <a:r>
            <a:rPr lang="fr-FR" sz="1000" dirty="0" smtClean="0"/>
            <a:t>Construire un plan d’investissement matériel</a:t>
          </a:r>
          <a:endParaRPr lang="fr-FR" sz="1000" dirty="0"/>
        </a:p>
      </dgm:t>
    </dgm:pt>
    <dgm:pt modelId="{4A9901CD-57E0-426D-945E-5F950FC98864}" type="parTrans" cxnId="{9427C4E7-EE7C-4918-8D93-1B167DC3ECE2}">
      <dgm:prSet/>
      <dgm:spPr/>
      <dgm:t>
        <a:bodyPr/>
        <a:lstStyle/>
        <a:p>
          <a:endParaRPr lang="fr-FR"/>
        </a:p>
      </dgm:t>
    </dgm:pt>
    <dgm:pt modelId="{1023856D-63B3-4E54-8512-2AFB20F894C4}" type="sibTrans" cxnId="{9427C4E7-EE7C-4918-8D93-1B167DC3ECE2}">
      <dgm:prSet/>
      <dgm:spPr/>
      <dgm:t>
        <a:bodyPr/>
        <a:lstStyle/>
        <a:p>
          <a:endParaRPr lang="fr-FR"/>
        </a:p>
      </dgm:t>
    </dgm:pt>
    <dgm:pt modelId="{494A72A6-1FB2-48C8-AE18-021AB5D462AF}">
      <dgm:prSet custT="1"/>
      <dgm:spPr/>
      <dgm:t>
        <a:bodyPr/>
        <a:lstStyle/>
        <a:p>
          <a:r>
            <a:rPr lang="fr-FR" sz="1000" dirty="0" smtClean="0"/>
            <a:t>Trouver un sponsor</a:t>
          </a:r>
          <a:endParaRPr lang="fr-FR" sz="1000" dirty="0"/>
        </a:p>
      </dgm:t>
    </dgm:pt>
    <dgm:pt modelId="{1CA98D37-7FA9-4CE9-AC07-2A34FD9D0073}" type="parTrans" cxnId="{7744136C-C589-422F-8D93-D2982D0D49F2}">
      <dgm:prSet/>
      <dgm:spPr/>
      <dgm:t>
        <a:bodyPr/>
        <a:lstStyle/>
        <a:p>
          <a:endParaRPr lang="fr-FR"/>
        </a:p>
      </dgm:t>
    </dgm:pt>
    <dgm:pt modelId="{8451E7AD-426D-4AB7-9772-8DA28A4108B1}" type="sibTrans" cxnId="{7744136C-C589-422F-8D93-D2982D0D49F2}">
      <dgm:prSet/>
      <dgm:spPr/>
      <dgm:t>
        <a:bodyPr/>
        <a:lstStyle/>
        <a:p>
          <a:endParaRPr lang="fr-FR"/>
        </a:p>
      </dgm:t>
    </dgm:pt>
    <dgm:pt modelId="{3D7325E4-0AD2-414A-8EEA-50E4AA1F7EA0}">
      <dgm:prSet phldrT="[Texte]" custT="1"/>
      <dgm:spPr/>
      <dgm:t>
        <a:bodyPr/>
        <a:lstStyle/>
        <a:p>
          <a:r>
            <a:rPr lang="fr-FR" sz="1000" dirty="0" smtClean="0"/>
            <a:t>Externaliser les paies</a:t>
          </a:r>
          <a:endParaRPr lang="fr-FR" sz="1000" dirty="0"/>
        </a:p>
      </dgm:t>
    </dgm:pt>
    <dgm:pt modelId="{A0470BB8-8F70-45D5-914E-0AAD5A9151AD}" type="parTrans" cxnId="{2DA3EC51-1B08-4E43-A7E6-CD41EE051349}">
      <dgm:prSet/>
      <dgm:spPr/>
      <dgm:t>
        <a:bodyPr/>
        <a:lstStyle/>
        <a:p>
          <a:endParaRPr lang="fr-FR"/>
        </a:p>
      </dgm:t>
    </dgm:pt>
    <dgm:pt modelId="{49799C1A-16B0-4C3B-9A4E-A8ED35AB03B5}" type="sibTrans" cxnId="{2DA3EC51-1B08-4E43-A7E6-CD41EE051349}">
      <dgm:prSet/>
      <dgm:spPr/>
      <dgm:t>
        <a:bodyPr/>
        <a:lstStyle/>
        <a:p>
          <a:endParaRPr lang="fr-FR"/>
        </a:p>
      </dgm:t>
    </dgm:pt>
    <dgm:pt modelId="{2591DA20-C758-4FCA-9183-340C07E4E185}">
      <dgm:prSet custT="1"/>
      <dgm:spPr/>
      <dgm:t>
        <a:bodyPr/>
        <a:lstStyle/>
        <a:p>
          <a:r>
            <a:rPr lang="fr-FR" sz="1200" dirty="0" smtClean="0"/>
            <a:t>Administrer et faire vivre le site Web et la page </a:t>
          </a:r>
          <a:r>
            <a:rPr lang="fr-FR" sz="1200" dirty="0" err="1" smtClean="0"/>
            <a:t>Facebook</a:t>
          </a:r>
          <a:endParaRPr lang="fr-FR" sz="1200" dirty="0"/>
        </a:p>
      </dgm:t>
    </dgm:pt>
    <dgm:pt modelId="{11BA0C83-F2A5-44F4-B84B-508F6B17D3BD}" type="parTrans" cxnId="{A8971574-918A-46F4-9C43-357017FD5005}">
      <dgm:prSet/>
      <dgm:spPr/>
      <dgm:t>
        <a:bodyPr/>
        <a:lstStyle/>
        <a:p>
          <a:endParaRPr lang="fr-FR"/>
        </a:p>
      </dgm:t>
    </dgm:pt>
    <dgm:pt modelId="{E8D6477B-C4C4-4F6E-8561-3B74BFA1D017}" type="sibTrans" cxnId="{A8971574-918A-46F4-9C43-357017FD5005}">
      <dgm:prSet/>
      <dgm:spPr/>
      <dgm:t>
        <a:bodyPr/>
        <a:lstStyle/>
        <a:p>
          <a:endParaRPr lang="fr-FR"/>
        </a:p>
      </dgm:t>
    </dgm:pt>
    <dgm:pt modelId="{071A3B5F-3404-4297-AE3D-2F2A3BBAB9AC}">
      <dgm:prSet custT="1"/>
      <dgm:spPr/>
      <dgm:t>
        <a:bodyPr/>
        <a:lstStyle/>
        <a:p>
          <a:r>
            <a:rPr lang="fr-FR" sz="1200" dirty="0" smtClean="0"/>
            <a:t>Actualiser « Sports-Ambitions 2016-2020» </a:t>
          </a:r>
          <a:endParaRPr lang="fr-FR" sz="1200" dirty="0"/>
        </a:p>
      </dgm:t>
    </dgm:pt>
    <dgm:pt modelId="{96F94B2D-B7DF-490B-A7CB-016F12C20BA1}" type="parTrans" cxnId="{6EFEE4E1-EEE1-4E2D-89EE-788C5F5F6552}">
      <dgm:prSet/>
      <dgm:spPr/>
      <dgm:t>
        <a:bodyPr/>
        <a:lstStyle/>
        <a:p>
          <a:endParaRPr lang="fr-FR"/>
        </a:p>
      </dgm:t>
    </dgm:pt>
    <dgm:pt modelId="{6F9DB1EB-DB23-47F6-9A56-FAF37CA1EF01}" type="sibTrans" cxnId="{6EFEE4E1-EEE1-4E2D-89EE-788C5F5F6552}">
      <dgm:prSet/>
      <dgm:spPr/>
      <dgm:t>
        <a:bodyPr/>
        <a:lstStyle/>
        <a:p>
          <a:endParaRPr lang="fr-FR"/>
        </a:p>
      </dgm:t>
    </dgm:pt>
    <dgm:pt modelId="{F7F8EFB1-E37C-4557-84E9-AA6FBE1272F4}" type="pres">
      <dgm:prSet presAssocID="{B81EF0BA-FD53-4214-85B2-9FFCBB0F44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29E2440-7066-488A-B979-955B7AE3D9BA}" type="pres">
      <dgm:prSet presAssocID="{B81EF0BA-FD53-4214-85B2-9FFCBB0F4431}" presName="tSp" presStyleCnt="0"/>
      <dgm:spPr/>
    </dgm:pt>
    <dgm:pt modelId="{5FFD72D9-F02B-4BBF-87BC-BDDE1F53C9A2}" type="pres">
      <dgm:prSet presAssocID="{B81EF0BA-FD53-4214-85B2-9FFCBB0F4431}" presName="bSp" presStyleCnt="0"/>
      <dgm:spPr/>
    </dgm:pt>
    <dgm:pt modelId="{92D5FD64-36AC-4314-B13B-A48D548B7D40}" type="pres">
      <dgm:prSet presAssocID="{B81EF0BA-FD53-4214-85B2-9FFCBB0F4431}" presName="process" presStyleCnt="0"/>
      <dgm:spPr/>
    </dgm:pt>
    <dgm:pt modelId="{DDF9BA0A-B11B-4000-9103-DD50CA3AB9BB}" type="pres">
      <dgm:prSet presAssocID="{F39FBA36-9284-4D5C-BC0F-672728ABFF4D}" presName="composite1" presStyleCnt="0"/>
      <dgm:spPr/>
    </dgm:pt>
    <dgm:pt modelId="{430F6910-59C8-49A0-9F8A-395CA6C8E1EA}" type="pres">
      <dgm:prSet presAssocID="{F39FBA36-9284-4D5C-BC0F-672728ABFF4D}" presName="dummyNode1" presStyleLbl="node1" presStyleIdx="0" presStyleCnt="3"/>
      <dgm:spPr/>
    </dgm:pt>
    <dgm:pt modelId="{A57C8658-965B-4A02-AC2B-436CB5AEBFE8}" type="pres">
      <dgm:prSet presAssocID="{F39FBA36-9284-4D5C-BC0F-672728ABFF4D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6C3BA83-FFEE-4478-B59A-7825B87CB656}" type="pres">
      <dgm:prSet presAssocID="{F39FBA36-9284-4D5C-BC0F-672728ABFF4D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361F2B5-F566-4C4F-8CF9-9FF861B97A95}" type="pres">
      <dgm:prSet presAssocID="{F39FBA36-9284-4D5C-BC0F-672728ABFF4D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1227EC-CF56-4A9D-B53B-D51884D5986D}" type="pres">
      <dgm:prSet presAssocID="{F39FBA36-9284-4D5C-BC0F-672728ABFF4D}" presName="connSite1" presStyleCnt="0"/>
      <dgm:spPr/>
    </dgm:pt>
    <dgm:pt modelId="{DB88FCF4-2DE1-42FF-8E51-C3AE2D2595D3}" type="pres">
      <dgm:prSet presAssocID="{2F369554-C9BB-4DBA-9502-45A313151362}" presName="Name9" presStyleLbl="sibTrans2D1" presStyleIdx="0" presStyleCnt="2"/>
      <dgm:spPr/>
      <dgm:t>
        <a:bodyPr/>
        <a:lstStyle/>
        <a:p>
          <a:endParaRPr lang="fr-FR"/>
        </a:p>
      </dgm:t>
    </dgm:pt>
    <dgm:pt modelId="{D66E0934-1B9E-4BF1-86C6-40DBA8352447}" type="pres">
      <dgm:prSet presAssocID="{470450E9-0ACB-4FF1-AD2D-4673114CE135}" presName="composite2" presStyleCnt="0"/>
      <dgm:spPr/>
    </dgm:pt>
    <dgm:pt modelId="{FE7A6275-2276-4A81-AC6B-75515725E810}" type="pres">
      <dgm:prSet presAssocID="{470450E9-0ACB-4FF1-AD2D-4673114CE135}" presName="dummyNode2" presStyleLbl="node1" presStyleIdx="0" presStyleCnt="3"/>
      <dgm:spPr/>
    </dgm:pt>
    <dgm:pt modelId="{6C45F5F4-F913-4DEB-9F3D-F01F1E4CF6C6}" type="pres">
      <dgm:prSet presAssocID="{470450E9-0ACB-4FF1-AD2D-4673114CE135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3429F44-1CD8-4A8A-B21B-DE06DDDD4039}" type="pres">
      <dgm:prSet presAssocID="{470450E9-0ACB-4FF1-AD2D-4673114CE135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390BC2B-021E-4A02-ABE0-E8EFAA6BA3A4}" type="pres">
      <dgm:prSet presAssocID="{470450E9-0ACB-4FF1-AD2D-4673114CE135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2A5AF6-0121-445B-8E03-E00BCEBAE437}" type="pres">
      <dgm:prSet presAssocID="{470450E9-0ACB-4FF1-AD2D-4673114CE135}" presName="connSite2" presStyleCnt="0"/>
      <dgm:spPr/>
    </dgm:pt>
    <dgm:pt modelId="{46147BC4-DA08-43C4-87F3-5A2B7FA1D0DB}" type="pres">
      <dgm:prSet presAssocID="{E30F7CEB-7DBC-45C1-AAF8-9715EB40D96D}" presName="Name18" presStyleLbl="sibTrans2D1" presStyleIdx="1" presStyleCnt="2"/>
      <dgm:spPr/>
      <dgm:t>
        <a:bodyPr/>
        <a:lstStyle/>
        <a:p>
          <a:endParaRPr lang="fr-FR"/>
        </a:p>
      </dgm:t>
    </dgm:pt>
    <dgm:pt modelId="{37344B64-7500-4585-9D72-7FAEAFA5D38D}" type="pres">
      <dgm:prSet presAssocID="{ED54A4DA-30EE-4633-81E2-017472899CE8}" presName="composite1" presStyleCnt="0"/>
      <dgm:spPr/>
    </dgm:pt>
    <dgm:pt modelId="{3B5EC442-8603-4C80-AF8E-9FB65733359F}" type="pres">
      <dgm:prSet presAssocID="{ED54A4DA-30EE-4633-81E2-017472899CE8}" presName="dummyNode1" presStyleLbl="node1" presStyleIdx="1" presStyleCnt="3"/>
      <dgm:spPr/>
    </dgm:pt>
    <dgm:pt modelId="{7A111A14-D86D-4368-B1A3-B017CE774ECD}" type="pres">
      <dgm:prSet presAssocID="{ED54A4DA-30EE-4633-81E2-017472899CE8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0A9E55-E6F0-47DB-9C40-F385670FF0AE}" type="pres">
      <dgm:prSet presAssocID="{ED54A4DA-30EE-4633-81E2-017472899CE8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D5AED7-2AB2-446B-A3D4-454736791E8C}" type="pres">
      <dgm:prSet presAssocID="{ED54A4DA-30EE-4633-81E2-017472899CE8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D3413A-AC06-4A7D-94C6-132513819055}" type="pres">
      <dgm:prSet presAssocID="{ED54A4DA-30EE-4633-81E2-017472899CE8}" presName="connSite1" presStyleCnt="0"/>
      <dgm:spPr/>
    </dgm:pt>
  </dgm:ptLst>
  <dgm:cxnLst>
    <dgm:cxn modelId="{B90383CB-248D-4A7A-B18B-0DEC05FA6D10}" srcId="{ED54A4DA-30EE-4633-81E2-017472899CE8}" destId="{FF23E246-376D-46F7-BC79-4589754B031D}" srcOrd="0" destOrd="0" parTransId="{D53961B2-8A43-407F-8619-8DD229AD479F}" sibTransId="{DD939C10-55D5-43E9-8BC4-FDF1F3AE19D6}"/>
    <dgm:cxn modelId="{95A6A1F9-EF9F-4C90-9360-ACCAEA28B0D4}" type="presOf" srcId="{B35A75BD-4FCE-4F8E-9D3B-9F4197BC7D84}" destId="{26C3BA83-FFEE-4478-B59A-7825B87CB656}" srcOrd="1" destOrd="0" presId="urn:microsoft.com/office/officeart/2005/8/layout/hProcess4"/>
    <dgm:cxn modelId="{80635A85-B518-4986-89BC-583C3CA98A49}" type="presOf" srcId="{AB721988-E539-43A5-83C4-6E8B19EB07A1}" destId="{26C3BA83-FFEE-4478-B59A-7825B87CB656}" srcOrd="1" destOrd="2" presId="urn:microsoft.com/office/officeart/2005/8/layout/hProcess4"/>
    <dgm:cxn modelId="{D0CD3481-C33F-4C14-9A5A-27D2446522BC}" srcId="{B81EF0BA-FD53-4214-85B2-9FFCBB0F4431}" destId="{ED54A4DA-30EE-4633-81E2-017472899CE8}" srcOrd="2" destOrd="0" parTransId="{3AA76E0B-F200-4B70-86A7-8C1F04E6C01F}" sibTransId="{462FE2DE-381E-42E1-B377-1930168B9B4F}"/>
    <dgm:cxn modelId="{9427C4E7-EE7C-4918-8D93-1B167DC3ECE2}" srcId="{470450E9-0ACB-4FF1-AD2D-4673114CE135}" destId="{2AD466C7-F6DA-4B5C-81F8-87BAC6037431}" srcOrd="4" destOrd="0" parTransId="{4A9901CD-57E0-426D-945E-5F950FC98864}" sibTransId="{1023856D-63B3-4E54-8512-2AFB20F894C4}"/>
    <dgm:cxn modelId="{B520FA3D-889B-4B4A-9C30-F26865F6D4F9}" type="presOf" srcId="{2F369554-C9BB-4DBA-9502-45A313151362}" destId="{DB88FCF4-2DE1-42FF-8E51-C3AE2D2595D3}" srcOrd="0" destOrd="0" presId="urn:microsoft.com/office/officeart/2005/8/layout/hProcess4"/>
    <dgm:cxn modelId="{316FD7DF-F921-4F42-9368-7A43B85BD14C}" type="presOf" srcId="{E30F7CEB-7DBC-45C1-AAF8-9715EB40D96D}" destId="{46147BC4-DA08-43C4-87F3-5A2B7FA1D0DB}" srcOrd="0" destOrd="0" presId="urn:microsoft.com/office/officeart/2005/8/layout/hProcess4"/>
    <dgm:cxn modelId="{5D839A47-563D-4657-B655-15E677A3204E}" srcId="{B81EF0BA-FD53-4214-85B2-9FFCBB0F4431}" destId="{470450E9-0ACB-4FF1-AD2D-4673114CE135}" srcOrd="1" destOrd="0" parTransId="{7C20824D-E043-42A9-87AE-4D561F88CE3D}" sibTransId="{E30F7CEB-7DBC-45C1-AAF8-9715EB40D96D}"/>
    <dgm:cxn modelId="{FA5B85CD-FAED-46C2-8BF3-F48A7D543C34}" type="presOf" srcId="{2591DA20-C758-4FCA-9183-340C07E4E185}" destId="{6B0A9E55-E6F0-47DB-9C40-F385670FF0AE}" srcOrd="1" destOrd="1" presId="urn:microsoft.com/office/officeart/2005/8/layout/hProcess4"/>
    <dgm:cxn modelId="{A8134127-0FD2-420F-913D-F1700B067DFB}" type="presOf" srcId="{4FC5C4F6-C942-4BCF-83DB-D37E69BC4188}" destId="{6C45F5F4-F913-4DEB-9F3D-F01F1E4CF6C6}" srcOrd="0" destOrd="3" presId="urn:microsoft.com/office/officeart/2005/8/layout/hProcess4"/>
    <dgm:cxn modelId="{07CA540D-B866-4533-BB58-13ACC4355A20}" type="presOf" srcId="{494A72A6-1FB2-48C8-AE18-021AB5D462AF}" destId="{C3429F44-1CD8-4A8A-B21B-DE06DDDD4039}" srcOrd="1" destOrd="5" presId="urn:microsoft.com/office/officeart/2005/8/layout/hProcess4"/>
    <dgm:cxn modelId="{085F6EA2-EA44-4FA6-98A4-D5B56C0D8FF0}" srcId="{F39FBA36-9284-4D5C-BC0F-672728ABFF4D}" destId="{AB721988-E539-43A5-83C4-6E8B19EB07A1}" srcOrd="2" destOrd="0" parTransId="{3ED2798D-DFAD-4095-9AFA-65F80AAF0597}" sibTransId="{8953FAAD-902E-431F-A401-C055A2DA0546}"/>
    <dgm:cxn modelId="{BAF4B670-38FF-4CB2-A748-659918EF07C4}" type="presOf" srcId="{FF23E246-376D-46F7-BC79-4589754B031D}" destId="{6B0A9E55-E6F0-47DB-9C40-F385670FF0AE}" srcOrd="1" destOrd="0" presId="urn:microsoft.com/office/officeart/2005/8/layout/hProcess4"/>
    <dgm:cxn modelId="{575A91C5-BBC0-4F95-9A5C-3B35CE0E57C6}" type="presOf" srcId="{B35A75BD-4FCE-4F8E-9D3B-9F4197BC7D84}" destId="{A57C8658-965B-4A02-AC2B-436CB5AEBFE8}" srcOrd="0" destOrd="0" presId="urn:microsoft.com/office/officeart/2005/8/layout/hProcess4"/>
    <dgm:cxn modelId="{FD8420B0-9ACB-4945-AE5E-C09F690A32C3}" type="presOf" srcId="{2591DA20-C758-4FCA-9183-340C07E4E185}" destId="{7A111A14-D86D-4368-B1A3-B017CE774ECD}" srcOrd="0" destOrd="1" presId="urn:microsoft.com/office/officeart/2005/8/layout/hProcess4"/>
    <dgm:cxn modelId="{A0D3D5FE-A40B-4419-A233-4626915FDE71}" srcId="{470450E9-0ACB-4FF1-AD2D-4673114CE135}" destId="{30F4BCD5-C415-4D9D-AAD5-9F01B1650A3A}" srcOrd="0" destOrd="0" parTransId="{D86C80A6-56EF-4339-9DDA-D814D9B97821}" sibTransId="{9F209C1C-914A-4E65-9C6D-5F563558AD44}"/>
    <dgm:cxn modelId="{18CE9570-05D9-4278-BD56-262AC8A1DBD0}" type="presOf" srcId="{4FC5C4F6-C942-4BCF-83DB-D37E69BC4188}" destId="{C3429F44-1CD8-4A8A-B21B-DE06DDDD4039}" srcOrd="1" destOrd="3" presId="urn:microsoft.com/office/officeart/2005/8/layout/hProcess4"/>
    <dgm:cxn modelId="{FAA33B33-6606-4941-84F6-F1521C999FFE}" type="presOf" srcId="{494A72A6-1FB2-48C8-AE18-021AB5D462AF}" destId="{6C45F5F4-F913-4DEB-9F3D-F01F1E4CF6C6}" srcOrd="0" destOrd="5" presId="urn:microsoft.com/office/officeart/2005/8/layout/hProcess4"/>
    <dgm:cxn modelId="{E072EDAA-FC55-4CF0-8D2C-2EF83365FD4D}" type="presOf" srcId="{071A3B5F-3404-4297-AE3D-2F2A3BBAB9AC}" destId="{7A111A14-D86D-4368-B1A3-B017CE774ECD}" srcOrd="0" destOrd="2" presId="urn:microsoft.com/office/officeart/2005/8/layout/hProcess4"/>
    <dgm:cxn modelId="{FD215D07-03EF-4E83-B1DB-3073B8B999E2}" type="presOf" srcId="{AB721988-E539-43A5-83C4-6E8B19EB07A1}" destId="{A57C8658-965B-4A02-AC2B-436CB5AEBFE8}" srcOrd="0" destOrd="2" presId="urn:microsoft.com/office/officeart/2005/8/layout/hProcess4"/>
    <dgm:cxn modelId="{688B0613-E21A-4805-9D82-FBD0842A0EE7}" type="presOf" srcId="{2AD466C7-F6DA-4B5C-81F8-87BAC6037431}" destId="{C3429F44-1CD8-4A8A-B21B-DE06DDDD4039}" srcOrd="1" destOrd="4" presId="urn:microsoft.com/office/officeart/2005/8/layout/hProcess4"/>
    <dgm:cxn modelId="{AC95A02D-83D3-4526-95B6-8B7D7F18DC26}" type="presOf" srcId="{3D7325E4-0AD2-414A-8EEA-50E4AA1F7EA0}" destId="{6C45F5F4-F913-4DEB-9F3D-F01F1E4CF6C6}" srcOrd="0" destOrd="1" presId="urn:microsoft.com/office/officeart/2005/8/layout/hProcess4"/>
    <dgm:cxn modelId="{5C791C08-2DBA-43A5-AE3B-754AE1094F41}" type="presOf" srcId="{B81EF0BA-FD53-4214-85B2-9FFCBB0F4431}" destId="{F7F8EFB1-E37C-4557-84E9-AA6FBE1272F4}" srcOrd="0" destOrd="0" presId="urn:microsoft.com/office/officeart/2005/8/layout/hProcess4"/>
    <dgm:cxn modelId="{740ADA46-57C5-4FE8-A3E4-303874908700}" srcId="{F39FBA36-9284-4D5C-BC0F-672728ABFF4D}" destId="{B848A6AA-E72F-419C-ACD9-657A11A6E8C2}" srcOrd="1" destOrd="0" parTransId="{DCE1DD5E-9DDC-4215-819A-B226AF820492}" sibTransId="{AAE26AC1-9F16-416E-9948-D2AFE5AD613F}"/>
    <dgm:cxn modelId="{12E032F0-6599-4F17-8A66-C27C7F2F360E}" type="presOf" srcId="{F39FBA36-9284-4D5C-BC0F-672728ABFF4D}" destId="{E361F2B5-F566-4C4F-8CF9-9FF861B97A95}" srcOrd="0" destOrd="0" presId="urn:microsoft.com/office/officeart/2005/8/layout/hProcess4"/>
    <dgm:cxn modelId="{7744136C-C589-422F-8D93-D2982D0D49F2}" srcId="{470450E9-0ACB-4FF1-AD2D-4673114CE135}" destId="{494A72A6-1FB2-48C8-AE18-021AB5D462AF}" srcOrd="5" destOrd="0" parTransId="{1CA98D37-7FA9-4CE9-AC07-2A34FD9D0073}" sibTransId="{8451E7AD-426D-4AB7-9772-8DA28A4108B1}"/>
    <dgm:cxn modelId="{2A296EFF-C324-4EF2-B6ED-5D9190E9C6C7}" type="presOf" srcId="{30F4BCD5-C415-4D9D-AAD5-9F01B1650A3A}" destId="{C3429F44-1CD8-4A8A-B21B-DE06DDDD4039}" srcOrd="1" destOrd="0" presId="urn:microsoft.com/office/officeart/2005/8/layout/hProcess4"/>
    <dgm:cxn modelId="{F0D477DB-B844-40D3-9A6C-744BF1A8C67F}" type="presOf" srcId="{B848A6AA-E72F-419C-ACD9-657A11A6E8C2}" destId="{26C3BA83-FFEE-4478-B59A-7825B87CB656}" srcOrd="1" destOrd="1" presId="urn:microsoft.com/office/officeart/2005/8/layout/hProcess4"/>
    <dgm:cxn modelId="{2DA3EC51-1B08-4E43-A7E6-CD41EE051349}" srcId="{470450E9-0ACB-4FF1-AD2D-4673114CE135}" destId="{3D7325E4-0AD2-414A-8EEA-50E4AA1F7EA0}" srcOrd="1" destOrd="0" parTransId="{A0470BB8-8F70-45D5-914E-0AAD5A9151AD}" sibTransId="{49799C1A-16B0-4C3B-9A4E-A8ED35AB03B5}"/>
    <dgm:cxn modelId="{CAEAE1A2-2745-47D6-B73C-FA84C85DA47C}" type="presOf" srcId="{071A3B5F-3404-4297-AE3D-2F2A3BBAB9AC}" destId="{6B0A9E55-E6F0-47DB-9C40-F385670FF0AE}" srcOrd="1" destOrd="2" presId="urn:microsoft.com/office/officeart/2005/8/layout/hProcess4"/>
    <dgm:cxn modelId="{01ADE5B3-1FB3-4D87-8EA1-E2968FFDE21C}" srcId="{470450E9-0ACB-4FF1-AD2D-4673114CE135}" destId="{4FC5C4F6-C942-4BCF-83DB-D37E69BC4188}" srcOrd="3" destOrd="0" parTransId="{28A56D69-D174-4996-8473-169D2E7167E6}" sibTransId="{5754393B-8406-4C8C-9A60-F6F1DBFAF503}"/>
    <dgm:cxn modelId="{0852116B-07A5-4C12-A36F-074B80D1592D}" type="presOf" srcId="{ED54A4DA-30EE-4633-81E2-017472899CE8}" destId="{6ED5AED7-2AB2-446B-A3D4-454736791E8C}" srcOrd="0" destOrd="0" presId="urn:microsoft.com/office/officeart/2005/8/layout/hProcess4"/>
    <dgm:cxn modelId="{1975174F-70AA-4873-B6C7-AC052F994886}" type="presOf" srcId="{2AD466C7-F6DA-4B5C-81F8-87BAC6037431}" destId="{6C45F5F4-F913-4DEB-9F3D-F01F1E4CF6C6}" srcOrd="0" destOrd="4" presId="urn:microsoft.com/office/officeart/2005/8/layout/hProcess4"/>
    <dgm:cxn modelId="{A7597C90-5D02-4C09-927A-24C85038FA57}" type="presOf" srcId="{829DCB77-35B0-4E1A-9787-D353BBF099A8}" destId="{6C45F5F4-F913-4DEB-9F3D-F01F1E4CF6C6}" srcOrd="0" destOrd="2" presId="urn:microsoft.com/office/officeart/2005/8/layout/hProcess4"/>
    <dgm:cxn modelId="{65378AA8-794C-4FF1-B051-EFB507C77CA8}" type="presOf" srcId="{3D7325E4-0AD2-414A-8EEA-50E4AA1F7EA0}" destId="{C3429F44-1CD8-4A8A-B21B-DE06DDDD4039}" srcOrd="1" destOrd="1" presId="urn:microsoft.com/office/officeart/2005/8/layout/hProcess4"/>
    <dgm:cxn modelId="{A8971574-918A-46F4-9C43-357017FD5005}" srcId="{ED54A4DA-30EE-4633-81E2-017472899CE8}" destId="{2591DA20-C758-4FCA-9183-340C07E4E185}" srcOrd="1" destOrd="0" parTransId="{11BA0C83-F2A5-44F4-B84B-508F6B17D3BD}" sibTransId="{E8D6477B-C4C4-4F6E-8561-3B74BFA1D017}"/>
    <dgm:cxn modelId="{9A81EBA5-0C72-40D2-9A6C-770950057108}" type="presOf" srcId="{30F4BCD5-C415-4D9D-AAD5-9F01B1650A3A}" destId="{6C45F5F4-F913-4DEB-9F3D-F01F1E4CF6C6}" srcOrd="0" destOrd="0" presId="urn:microsoft.com/office/officeart/2005/8/layout/hProcess4"/>
    <dgm:cxn modelId="{6EFEE4E1-EEE1-4E2D-89EE-788C5F5F6552}" srcId="{ED54A4DA-30EE-4633-81E2-017472899CE8}" destId="{071A3B5F-3404-4297-AE3D-2F2A3BBAB9AC}" srcOrd="2" destOrd="0" parTransId="{96F94B2D-B7DF-490B-A7CB-016F12C20BA1}" sibTransId="{6F9DB1EB-DB23-47F6-9A56-FAF37CA1EF01}"/>
    <dgm:cxn modelId="{6EBDB337-EAE0-43A2-A3EA-76C497B6A048}" type="presOf" srcId="{FF23E246-376D-46F7-BC79-4589754B031D}" destId="{7A111A14-D86D-4368-B1A3-B017CE774ECD}" srcOrd="0" destOrd="0" presId="urn:microsoft.com/office/officeart/2005/8/layout/hProcess4"/>
    <dgm:cxn modelId="{844FB0EC-C5B9-4051-B000-86B1ADC22F44}" srcId="{B81EF0BA-FD53-4214-85B2-9FFCBB0F4431}" destId="{F39FBA36-9284-4D5C-BC0F-672728ABFF4D}" srcOrd="0" destOrd="0" parTransId="{45DC417E-4EFD-4139-BF09-9F19D9CF0B72}" sibTransId="{2F369554-C9BB-4DBA-9502-45A313151362}"/>
    <dgm:cxn modelId="{34B984A0-7957-4198-B60A-91BB3E7E4E63}" type="presOf" srcId="{470450E9-0ACB-4FF1-AD2D-4673114CE135}" destId="{6390BC2B-021E-4A02-ABE0-E8EFAA6BA3A4}" srcOrd="0" destOrd="0" presId="urn:microsoft.com/office/officeart/2005/8/layout/hProcess4"/>
    <dgm:cxn modelId="{D8D86770-2B89-48BA-8D78-712B2EF48482}" srcId="{470450E9-0ACB-4FF1-AD2D-4673114CE135}" destId="{829DCB77-35B0-4E1A-9787-D353BBF099A8}" srcOrd="2" destOrd="0" parTransId="{67889304-82AC-4D1E-BB80-83913BDF9D3F}" sibTransId="{1E03F6AA-1770-43F4-81E5-F124DD7AE3B1}"/>
    <dgm:cxn modelId="{5D4140EE-0E8D-405C-BAE9-407050F27ADC}" type="presOf" srcId="{B848A6AA-E72F-419C-ACD9-657A11A6E8C2}" destId="{A57C8658-965B-4A02-AC2B-436CB5AEBFE8}" srcOrd="0" destOrd="1" presId="urn:microsoft.com/office/officeart/2005/8/layout/hProcess4"/>
    <dgm:cxn modelId="{F96BF2EA-1542-4710-865D-C1834CE30439}" type="presOf" srcId="{829DCB77-35B0-4E1A-9787-D353BBF099A8}" destId="{C3429F44-1CD8-4A8A-B21B-DE06DDDD4039}" srcOrd="1" destOrd="2" presId="urn:microsoft.com/office/officeart/2005/8/layout/hProcess4"/>
    <dgm:cxn modelId="{A7D5737E-5385-4F9D-9325-0AD8C617BEF0}" srcId="{F39FBA36-9284-4D5C-BC0F-672728ABFF4D}" destId="{B35A75BD-4FCE-4F8E-9D3B-9F4197BC7D84}" srcOrd="0" destOrd="0" parTransId="{2C271F12-DD49-4AE0-BC11-B6A06558CFFE}" sibTransId="{0E0E8084-84E2-4286-8124-302E3FB8FEF4}"/>
    <dgm:cxn modelId="{372D580A-A877-4C3D-96A5-28E8E44548CD}" type="presParOf" srcId="{F7F8EFB1-E37C-4557-84E9-AA6FBE1272F4}" destId="{929E2440-7066-488A-B979-955B7AE3D9BA}" srcOrd="0" destOrd="0" presId="urn:microsoft.com/office/officeart/2005/8/layout/hProcess4"/>
    <dgm:cxn modelId="{CA0EB003-2F30-4E67-ADEB-50302B96D47F}" type="presParOf" srcId="{F7F8EFB1-E37C-4557-84E9-AA6FBE1272F4}" destId="{5FFD72D9-F02B-4BBF-87BC-BDDE1F53C9A2}" srcOrd="1" destOrd="0" presId="urn:microsoft.com/office/officeart/2005/8/layout/hProcess4"/>
    <dgm:cxn modelId="{1ABE852A-4E61-43AC-9B64-6C8F126F71A3}" type="presParOf" srcId="{F7F8EFB1-E37C-4557-84E9-AA6FBE1272F4}" destId="{92D5FD64-36AC-4314-B13B-A48D548B7D40}" srcOrd="2" destOrd="0" presId="urn:microsoft.com/office/officeart/2005/8/layout/hProcess4"/>
    <dgm:cxn modelId="{12372261-BE0E-4BE3-B36E-FF22C080B5A9}" type="presParOf" srcId="{92D5FD64-36AC-4314-B13B-A48D548B7D40}" destId="{DDF9BA0A-B11B-4000-9103-DD50CA3AB9BB}" srcOrd="0" destOrd="0" presId="urn:microsoft.com/office/officeart/2005/8/layout/hProcess4"/>
    <dgm:cxn modelId="{EAB66BB2-1A88-4C8A-A317-FCE9772D3C6D}" type="presParOf" srcId="{DDF9BA0A-B11B-4000-9103-DD50CA3AB9BB}" destId="{430F6910-59C8-49A0-9F8A-395CA6C8E1EA}" srcOrd="0" destOrd="0" presId="urn:microsoft.com/office/officeart/2005/8/layout/hProcess4"/>
    <dgm:cxn modelId="{206A9E5F-4301-4442-864D-61619EBF9913}" type="presParOf" srcId="{DDF9BA0A-B11B-4000-9103-DD50CA3AB9BB}" destId="{A57C8658-965B-4A02-AC2B-436CB5AEBFE8}" srcOrd="1" destOrd="0" presId="urn:microsoft.com/office/officeart/2005/8/layout/hProcess4"/>
    <dgm:cxn modelId="{D5622427-D84A-4F44-95C5-AB2786DF50B8}" type="presParOf" srcId="{DDF9BA0A-B11B-4000-9103-DD50CA3AB9BB}" destId="{26C3BA83-FFEE-4478-B59A-7825B87CB656}" srcOrd="2" destOrd="0" presId="urn:microsoft.com/office/officeart/2005/8/layout/hProcess4"/>
    <dgm:cxn modelId="{55FD6BC4-15D9-4A11-939B-33D3D9487914}" type="presParOf" srcId="{DDF9BA0A-B11B-4000-9103-DD50CA3AB9BB}" destId="{E361F2B5-F566-4C4F-8CF9-9FF861B97A95}" srcOrd="3" destOrd="0" presId="urn:microsoft.com/office/officeart/2005/8/layout/hProcess4"/>
    <dgm:cxn modelId="{A101EA68-E198-4DC1-8DAA-6A8BC2A3E309}" type="presParOf" srcId="{DDF9BA0A-B11B-4000-9103-DD50CA3AB9BB}" destId="{CE1227EC-CF56-4A9D-B53B-D51884D5986D}" srcOrd="4" destOrd="0" presId="urn:microsoft.com/office/officeart/2005/8/layout/hProcess4"/>
    <dgm:cxn modelId="{C6D9F55B-CD92-4640-9CCE-34BD496BDD01}" type="presParOf" srcId="{92D5FD64-36AC-4314-B13B-A48D548B7D40}" destId="{DB88FCF4-2DE1-42FF-8E51-C3AE2D2595D3}" srcOrd="1" destOrd="0" presId="urn:microsoft.com/office/officeart/2005/8/layout/hProcess4"/>
    <dgm:cxn modelId="{573D6BCF-5D9B-4BFC-A7F8-328EC8D8D576}" type="presParOf" srcId="{92D5FD64-36AC-4314-B13B-A48D548B7D40}" destId="{D66E0934-1B9E-4BF1-86C6-40DBA8352447}" srcOrd="2" destOrd="0" presId="urn:microsoft.com/office/officeart/2005/8/layout/hProcess4"/>
    <dgm:cxn modelId="{94BC8165-541C-4679-9D87-AF2720BD2E67}" type="presParOf" srcId="{D66E0934-1B9E-4BF1-86C6-40DBA8352447}" destId="{FE7A6275-2276-4A81-AC6B-75515725E810}" srcOrd="0" destOrd="0" presId="urn:microsoft.com/office/officeart/2005/8/layout/hProcess4"/>
    <dgm:cxn modelId="{082F7B91-0A46-4433-9079-EBACFA8C42D9}" type="presParOf" srcId="{D66E0934-1B9E-4BF1-86C6-40DBA8352447}" destId="{6C45F5F4-F913-4DEB-9F3D-F01F1E4CF6C6}" srcOrd="1" destOrd="0" presId="urn:microsoft.com/office/officeart/2005/8/layout/hProcess4"/>
    <dgm:cxn modelId="{FF7E12DF-B14D-414E-BF2A-72CD915EE95F}" type="presParOf" srcId="{D66E0934-1B9E-4BF1-86C6-40DBA8352447}" destId="{C3429F44-1CD8-4A8A-B21B-DE06DDDD4039}" srcOrd="2" destOrd="0" presId="urn:microsoft.com/office/officeart/2005/8/layout/hProcess4"/>
    <dgm:cxn modelId="{808A88CE-7684-4195-9E32-44CAB555F5D5}" type="presParOf" srcId="{D66E0934-1B9E-4BF1-86C6-40DBA8352447}" destId="{6390BC2B-021E-4A02-ABE0-E8EFAA6BA3A4}" srcOrd="3" destOrd="0" presId="urn:microsoft.com/office/officeart/2005/8/layout/hProcess4"/>
    <dgm:cxn modelId="{75997284-BF17-4283-8645-10BC0BFD9EE7}" type="presParOf" srcId="{D66E0934-1B9E-4BF1-86C6-40DBA8352447}" destId="{772A5AF6-0121-445B-8E03-E00BCEBAE437}" srcOrd="4" destOrd="0" presId="urn:microsoft.com/office/officeart/2005/8/layout/hProcess4"/>
    <dgm:cxn modelId="{8EC33EBD-8C8D-44F1-BF19-9D4A02469388}" type="presParOf" srcId="{92D5FD64-36AC-4314-B13B-A48D548B7D40}" destId="{46147BC4-DA08-43C4-87F3-5A2B7FA1D0DB}" srcOrd="3" destOrd="0" presId="urn:microsoft.com/office/officeart/2005/8/layout/hProcess4"/>
    <dgm:cxn modelId="{34E08121-8C3A-42ED-9A3A-7E10A7A06C8D}" type="presParOf" srcId="{92D5FD64-36AC-4314-B13B-A48D548B7D40}" destId="{37344B64-7500-4585-9D72-7FAEAFA5D38D}" srcOrd="4" destOrd="0" presId="urn:microsoft.com/office/officeart/2005/8/layout/hProcess4"/>
    <dgm:cxn modelId="{A0ED1630-57D1-47C6-8B7A-AA0711B4A6D2}" type="presParOf" srcId="{37344B64-7500-4585-9D72-7FAEAFA5D38D}" destId="{3B5EC442-8603-4C80-AF8E-9FB65733359F}" srcOrd="0" destOrd="0" presId="urn:microsoft.com/office/officeart/2005/8/layout/hProcess4"/>
    <dgm:cxn modelId="{F1090663-E1C3-42AB-B4E4-B55D14330A2F}" type="presParOf" srcId="{37344B64-7500-4585-9D72-7FAEAFA5D38D}" destId="{7A111A14-D86D-4368-B1A3-B017CE774ECD}" srcOrd="1" destOrd="0" presId="urn:microsoft.com/office/officeart/2005/8/layout/hProcess4"/>
    <dgm:cxn modelId="{F4F17E45-A5AA-4DB0-8291-B5AD20CC92A1}" type="presParOf" srcId="{37344B64-7500-4585-9D72-7FAEAFA5D38D}" destId="{6B0A9E55-E6F0-47DB-9C40-F385670FF0AE}" srcOrd="2" destOrd="0" presId="urn:microsoft.com/office/officeart/2005/8/layout/hProcess4"/>
    <dgm:cxn modelId="{6DAFCB38-7FDF-4F38-BAC2-DA4DEBC42C08}" type="presParOf" srcId="{37344B64-7500-4585-9D72-7FAEAFA5D38D}" destId="{6ED5AED7-2AB2-446B-A3D4-454736791E8C}" srcOrd="3" destOrd="0" presId="urn:microsoft.com/office/officeart/2005/8/layout/hProcess4"/>
    <dgm:cxn modelId="{6433E303-50E4-470F-B094-94A90813C4CC}" type="presParOf" srcId="{37344B64-7500-4585-9D72-7FAEAFA5D38D}" destId="{2ED3413A-AC06-4A7D-94C6-132513819055}" srcOrd="4" destOrd="0" presId="urn:microsoft.com/office/officeart/2005/8/layout/hProcess4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81EF0BA-FD53-4214-85B2-9FFCBB0F4431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39FBA36-9284-4D5C-BC0F-672728ABFF4D}">
      <dgm:prSet phldrT="[Texte]"/>
      <dgm:spPr/>
      <dgm:t>
        <a:bodyPr/>
        <a:lstStyle/>
        <a:p>
          <a:r>
            <a:rPr lang="fr-FR" dirty="0" smtClean="0"/>
            <a:t>2015-2016</a:t>
          </a:r>
          <a:endParaRPr lang="fr-FR" dirty="0"/>
        </a:p>
      </dgm:t>
    </dgm:pt>
    <dgm:pt modelId="{45DC417E-4EFD-4139-BF09-9F19D9CF0B72}" type="parTrans" cxnId="{844FB0EC-C5B9-4051-B000-86B1ADC22F44}">
      <dgm:prSet/>
      <dgm:spPr/>
      <dgm:t>
        <a:bodyPr/>
        <a:lstStyle/>
        <a:p>
          <a:endParaRPr lang="fr-FR"/>
        </a:p>
      </dgm:t>
    </dgm:pt>
    <dgm:pt modelId="{2F369554-C9BB-4DBA-9502-45A313151362}" type="sibTrans" cxnId="{844FB0EC-C5B9-4051-B000-86B1ADC22F44}">
      <dgm:prSet/>
      <dgm:spPr/>
      <dgm:t>
        <a:bodyPr/>
        <a:lstStyle/>
        <a:p>
          <a:endParaRPr lang="fr-FR"/>
        </a:p>
      </dgm:t>
    </dgm:pt>
    <dgm:pt modelId="{B35A75BD-4FCE-4F8E-9D3B-9F4197BC7D84}">
      <dgm:prSet phldrT="[Texte]"/>
      <dgm:spPr/>
      <dgm:t>
        <a:bodyPr/>
        <a:lstStyle/>
        <a:p>
          <a:r>
            <a:rPr lang="fr-FR" dirty="0" smtClean="0"/>
            <a:t>Réussir le tournoi de juin 2016</a:t>
          </a:r>
          <a:endParaRPr lang="fr-FR" dirty="0"/>
        </a:p>
      </dgm:t>
    </dgm:pt>
    <dgm:pt modelId="{2C271F12-DD49-4AE0-BC11-B6A06558CFFE}" type="parTrans" cxnId="{A7D5737E-5385-4F9D-9325-0AD8C617BEF0}">
      <dgm:prSet/>
      <dgm:spPr/>
      <dgm:t>
        <a:bodyPr/>
        <a:lstStyle/>
        <a:p>
          <a:endParaRPr lang="fr-FR"/>
        </a:p>
      </dgm:t>
    </dgm:pt>
    <dgm:pt modelId="{0E0E8084-84E2-4286-8124-302E3FB8FEF4}" type="sibTrans" cxnId="{A7D5737E-5385-4F9D-9325-0AD8C617BEF0}">
      <dgm:prSet/>
      <dgm:spPr/>
      <dgm:t>
        <a:bodyPr/>
        <a:lstStyle/>
        <a:p>
          <a:endParaRPr lang="fr-FR"/>
        </a:p>
      </dgm:t>
    </dgm:pt>
    <dgm:pt modelId="{470450E9-0ACB-4FF1-AD2D-4673114CE135}">
      <dgm:prSet phldrT="[Texte]"/>
      <dgm:spPr/>
      <dgm:t>
        <a:bodyPr/>
        <a:lstStyle/>
        <a:p>
          <a:r>
            <a:rPr lang="fr-FR" dirty="0" smtClean="0"/>
            <a:t>2016-2017</a:t>
          </a:r>
          <a:endParaRPr lang="fr-FR" dirty="0"/>
        </a:p>
      </dgm:t>
    </dgm:pt>
    <dgm:pt modelId="{7C20824D-E043-42A9-87AE-4D561F88CE3D}" type="parTrans" cxnId="{5D839A47-563D-4657-B655-15E677A3204E}">
      <dgm:prSet/>
      <dgm:spPr/>
      <dgm:t>
        <a:bodyPr/>
        <a:lstStyle/>
        <a:p>
          <a:endParaRPr lang="fr-FR"/>
        </a:p>
      </dgm:t>
    </dgm:pt>
    <dgm:pt modelId="{E30F7CEB-7DBC-45C1-AAF8-9715EB40D96D}" type="sibTrans" cxnId="{5D839A47-563D-4657-B655-15E677A3204E}">
      <dgm:prSet/>
      <dgm:spPr/>
      <dgm:t>
        <a:bodyPr/>
        <a:lstStyle/>
        <a:p>
          <a:endParaRPr lang="fr-FR"/>
        </a:p>
      </dgm:t>
    </dgm:pt>
    <dgm:pt modelId="{ED54A4DA-30EE-4633-81E2-017472899CE8}">
      <dgm:prSet phldrT="[Texte]"/>
      <dgm:spPr/>
      <dgm:t>
        <a:bodyPr/>
        <a:lstStyle/>
        <a:p>
          <a:r>
            <a:rPr lang="fr-FR" dirty="0" smtClean="0"/>
            <a:t>2017-2018</a:t>
          </a:r>
          <a:endParaRPr lang="fr-FR" dirty="0"/>
        </a:p>
      </dgm:t>
    </dgm:pt>
    <dgm:pt modelId="{3AA76E0B-F200-4B70-86A7-8C1F04E6C01F}" type="parTrans" cxnId="{D0CD3481-C33F-4C14-9A5A-27D2446522BC}">
      <dgm:prSet/>
      <dgm:spPr/>
      <dgm:t>
        <a:bodyPr/>
        <a:lstStyle/>
        <a:p>
          <a:endParaRPr lang="fr-FR"/>
        </a:p>
      </dgm:t>
    </dgm:pt>
    <dgm:pt modelId="{462FE2DE-381E-42E1-B377-1930168B9B4F}" type="sibTrans" cxnId="{D0CD3481-C33F-4C14-9A5A-27D2446522BC}">
      <dgm:prSet/>
      <dgm:spPr/>
      <dgm:t>
        <a:bodyPr/>
        <a:lstStyle/>
        <a:p>
          <a:endParaRPr lang="fr-FR"/>
        </a:p>
      </dgm:t>
    </dgm:pt>
    <dgm:pt modelId="{FE19265B-CD2F-455E-9004-49B6A4F8937E}">
      <dgm:prSet/>
      <dgm:spPr/>
      <dgm:t>
        <a:bodyPr/>
        <a:lstStyle/>
        <a:p>
          <a:r>
            <a:rPr lang="fr-FR" smtClean="0"/>
            <a:t>Renforcer l’encadrement</a:t>
          </a:r>
          <a:endParaRPr lang="fr-FR" dirty="0"/>
        </a:p>
      </dgm:t>
    </dgm:pt>
    <dgm:pt modelId="{75FBA74E-1DBF-4BBF-A2A8-1DB3A5650090}" type="parTrans" cxnId="{644D228C-8880-4DB2-A5D1-14E4BA6785DA}">
      <dgm:prSet/>
      <dgm:spPr/>
      <dgm:t>
        <a:bodyPr/>
        <a:lstStyle/>
        <a:p>
          <a:endParaRPr lang="fr-FR"/>
        </a:p>
      </dgm:t>
    </dgm:pt>
    <dgm:pt modelId="{2E443836-4BD8-49A7-8EFA-BC1B22FE836A}" type="sibTrans" cxnId="{644D228C-8880-4DB2-A5D1-14E4BA6785DA}">
      <dgm:prSet/>
      <dgm:spPr/>
      <dgm:t>
        <a:bodyPr/>
        <a:lstStyle/>
        <a:p>
          <a:endParaRPr lang="fr-FR"/>
        </a:p>
      </dgm:t>
    </dgm:pt>
    <dgm:pt modelId="{1DD8B056-69B9-47D6-A54B-619422599011}">
      <dgm:prSet/>
      <dgm:spPr/>
      <dgm:t>
        <a:bodyPr/>
        <a:lstStyle/>
        <a:p>
          <a:r>
            <a:rPr lang="fr-FR" smtClean="0"/>
            <a:t>Définir des règles pour le jeu libre</a:t>
          </a:r>
          <a:endParaRPr lang="fr-FR" dirty="0"/>
        </a:p>
      </dgm:t>
    </dgm:pt>
    <dgm:pt modelId="{C74A5DDC-583A-4D31-B9F5-B5DCCECD27DF}" type="parTrans" cxnId="{B04F84F0-8D84-4EAE-9DAF-2C5477C0B847}">
      <dgm:prSet/>
      <dgm:spPr/>
      <dgm:t>
        <a:bodyPr/>
        <a:lstStyle/>
        <a:p>
          <a:endParaRPr lang="fr-FR"/>
        </a:p>
      </dgm:t>
    </dgm:pt>
    <dgm:pt modelId="{244B276C-A6EC-43CE-A14D-A9ED51DE36F0}" type="sibTrans" cxnId="{B04F84F0-8D84-4EAE-9DAF-2C5477C0B847}">
      <dgm:prSet/>
      <dgm:spPr/>
      <dgm:t>
        <a:bodyPr/>
        <a:lstStyle/>
        <a:p>
          <a:endParaRPr lang="fr-FR"/>
        </a:p>
      </dgm:t>
    </dgm:pt>
    <dgm:pt modelId="{A0F1136D-765F-4423-BD8B-2D7261FC1BA3}">
      <dgm:prSet/>
      <dgm:spPr/>
      <dgm:t>
        <a:bodyPr/>
        <a:lstStyle/>
        <a:p>
          <a:r>
            <a:rPr lang="fr-FR" smtClean="0"/>
            <a:t>Avoir au moins un candidat pour les élections du Comité Départemental</a:t>
          </a:r>
          <a:endParaRPr lang="fr-FR" dirty="0"/>
        </a:p>
      </dgm:t>
    </dgm:pt>
    <dgm:pt modelId="{C41BDEC4-112A-4CB9-B1AA-49CA475E856C}" type="parTrans" cxnId="{90EC5D0F-5C2B-4806-B41F-EF8C334C3B88}">
      <dgm:prSet/>
      <dgm:spPr/>
      <dgm:t>
        <a:bodyPr/>
        <a:lstStyle/>
        <a:p>
          <a:endParaRPr lang="fr-FR"/>
        </a:p>
      </dgm:t>
    </dgm:pt>
    <dgm:pt modelId="{808DD603-FE83-45A6-96C4-D481EF935F06}" type="sibTrans" cxnId="{90EC5D0F-5C2B-4806-B41F-EF8C334C3B88}">
      <dgm:prSet/>
      <dgm:spPr/>
      <dgm:t>
        <a:bodyPr/>
        <a:lstStyle/>
        <a:p>
          <a:endParaRPr lang="fr-FR"/>
        </a:p>
      </dgm:t>
    </dgm:pt>
    <dgm:pt modelId="{5368F0B6-81B5-472B-B4ED-50635FEA48F8}">
      <dgm:prSet phldrT="[Texte]" custT="1"/>
      <dgm:spPr/>
      <dgm:t>
        <a:bodyPr/>
        <a:lstStyle/>
        <a:p>
          <a:r>
            <a:rPr lang="fr-FR" sz="900" dirty="0" smtClean="0"/>
            <a:t>Développer la compétition</a:t>
          </a:r>
          <a:endParaRPr lang="fr-FR" sz="900" dirty="0"/>
        </a:p>
      </dgm:t>
    </dgm:pt>
    <dgm:pt modelId="{4B91024B-95FA-4092-A2EB-F77A1A090DC7}" type="parTrans" cxnId="{558CA36B-6914-4D00-AC4E-E354FC214B64}">
      <dgm:prSet/>
      <dgm:spPr/>
      <dgm:t>
        <a:bodyPr/>
        <a:lstStyle/>
        <a:p>
          <a:endParaRPr lang="fr-FR"/>
        </a:p>
      </dgm:t>
    </dgm:pt>
    <dgm:pt modelId="{235CE731-AB4C-4BAA-9475-5AAC73E123D2}" type="sibTrans" cxnId="{558CA36B-6914-4D00-AC4E-E354FC214B64}">
      <dgm:prSet/>
      <dgm:spPr/>
      <dgm:t>
        <a:bodyPr/>
        <a:lstStyle/>
        <a:p>
          <a:endParaRPr lang="fr-FR"/>
        </a:p>
      </dgm:t>
    </dgm:pt>
    <dgm:pt modelId="{EF017B09-A800-4DD2-B66E-420E7295B575}">
      <dgm:prSet custT="1"/>
      <dgm:spPr/>
      <dgm:t>
        <a:bodyPr/>
        <a:lstStyle/>
        <a:p>
          <a:r>
            <a:rPr lang="fr-FR" sz="900" dirty="0" smtClean="0"/>
            <a:t>Faire 2 tournois internes.</a:t>
          </a:r>
          <a:endParaRPr lang="fr-FR" sz="900" dirty="0"/>
        </a:p>
      </dgm:t>
    </dgm:pt>
    <dgm:pt modelId="{3DB0A931-C136-4EE9-BB02-43B12E8DBE62}" type="parTrans" cxnId="{2743DFA2-F473-4151-A6BC-D61FFB709741}">
      <dgm:prSet/>
      <dgm:spPr/>
      <dgm:t>
        <a:bodyPr/>
        <a:lstStyle/>
        <a:p>
          <a:endParaRPr lang="fr-FR"/>
        </a:p>
      </dgm:t>
    </dgm:pt>
    <dgm:pt modelId="{C5328DCC-812B-484E-A70F-0B42DE786FB9}" type="sibTrans" cxnId="{2743DFA2-F473-4151-A6BC-D61FFB709741}">
      <dgm:prSet/>
      <dgm:spPr/>
      <dgm:t>
        <a:bodyPr/>
        <a:lstStyle/>
        <a:p>
          <a:endParaRPr lang="fr-FR"/>
        </a:p>
      </dgm:t>
    </dgm:pt>
    <dgm:pt modelId="{D4CB6F76-56E7-4B56-A511-808BC444AAB0}">
      <dgm:prSet custT="1"/>
      <dgm:spPr/>
      <dgm:t>
        <a:bodyPr/>
        <a:lstStyle/>
        <a:p>
          <a:r>
            <a:rPr lang="fr-FR" sz="900" dirty="0" smtClean="0"/>
            <a:t>Monter en D2 de l’</a:t>
          </a:r>
          <a:r>
            <a:rPr lang="fr-FR" sz="900" dirty="0" err="1" smtClean="0"/>
            <a:t>interclub</a:t>
          </a:r>
          <a:r>
            <a:rPr lang="fr-FR" sz="900" dirty="0" smtClean="0"/>
            <a:t> départemental Mixte</a:t>
          </a:r>
          <a:endParaRPr lang="fr-FR" sz="900" dirty="0"/>
        </a:p>
      </dgm:t>
    </dgm:pt>
    <dgm:pt modelId="{84883857-B677-4732-8400-C447F4EF5F41}" type="parTrans" cxnId="{FD9B5AF5-9B98-470B-9DC9-71E7FA9D063D}">
      <dgm:prSet/>
      <dgm:spPr/>
      <dgm:t>
        <a:bodyPr/>
        <a:lstStyle/>
        <a:p>
          <a:endParaRPr lang="fr-FR"/>
        </a:p>
      </dgm:t>
    </dgm:pt>
    <dgm:pt modelId="{AD264AE5-E060-4E69-BE52-DECBBCB9D572}" type="sibTrans" cxnId="{FD9B5AF5-9B98-470B-9DC9-71E7FA9D063D}">
      <dgm:prSet/>
      <dgm:spPr/>
      <dgm:t>
        <a:bodyPr/>
        <a:lstStyle/>
        <a:p>
          <a:endParaRPr lang="fr-FR"/>
        </a:p>
      </dgm:t>
    </dgm:pt>
    <dgm:pt modelId="{FD87FE98-894A-49CB-BCFF-FAC58B49DC1C}">
      <dgm:prSet custT="1"/>
      <dgm:spPr/>
      <dgm:t>
        <a:bodyPr/>
        <a:lstStyle/>
        <a:p>
          <a:r>
            <a:rPr lang="fr-FR" sz="900" dirty="0" smtClean="0"/>
            <a:t>Etre sur le podium de l’</a:t>
          </a:r>
          <a:r>
            <a:rPr lang="fr-FR" sz="900" dirty="0" err="1" smtClean="0"/>
            <a:t>Interclub</a:t>
          </a:r>
          <a:r>
            <a:rPr lang="fr-FR" sz="900" dirty="0" smtClean="0"/>
            <a:t> départemental Vétérans</a:t>
          </a:r>
          <a:endParaRPr lang="fr-FR" sz="900" dirty="0"/>
        </a:p>
      </dgm:t>
    </dgm:pt>
    <dgm:pt modelId="{E4A5A175-4271-45E6-B2E9-F5A645CEB461}" type="parTrans" cxnId="{C6805270-30E6-4D1B-ACEE-51357F0FAC4B}">
      <dgm:prSet/>
      <dgm:spPr/>
      <dgm:t>
        <a:bodyPr/>
        <a:lstStyle/>
        <a:p>
          <a:endParaRPr lang="fr-FR"/>
        </a:p>
      </dgm:t>
    </dgm:pt>
    <dgm:pt modelId="{F035AAB3-CFFD-4A27-BB9A-523E3A91B6BB}" type="sibTrans" cxnId="{C6805270-30E6-4D1B-ACEE-51357F0FAC4B}">
      <dgm:prSet/>
      <dgm:spPr/>
      <dgm:t>
        <a:bodyPr/>
        <a:lstStyle/>
        <a:p>
          <a:endParaRPr lang="fr-FR"/>
        </a:p>
      </dgm:t>
    </dgm:pt>
    <dgm:pt modelId="{66453FC9-F8B1-44DA-ADF9-81536E373E6D}">
      <dgm:prSet custT="1"/>
      <dgm:spPr/>
      <dgm:t>
        <a:bodyPr/>
        <a:lstStyle/>
        <a:p>
          <a:r>
            <a:rPr lang="fr-FR" sz="900" dirty="0" smtClean="0"/>
            <a:t>Améliorer le classement des jeunes.</a:t>
          </a:r>
          <a:endParaRPr lang="fr-FR" sz="900" dirty="0"/>
        </a:p>
      </dgm:t>
    </dgm:pt>
    <dgm:pt modelId="{4FFDC2B9-699E-47CA-B11A-3F9AE8C5EBF9}" type="parTrans" cxnId="{B286FF9C-3E96-4FD1-BA3B-5429B9C53F3F}">
      <dgm:prSet/>
      <dgm:spPr/>
      <dgm:t>
        <a:bodyPr/>
        <a:lstStyle/>
        <a:p>
          <a:endParaRPr lang="fr-FR"/>
        </a:p>
      </dgm:t>
    </dgm:pt>
    <dgm:pt modelId="{DC2FC4B3-2DFB-41C0-9414-7034608F73F2}" type="sibTrans" cxnId="{B286FF9C-3E96-4FD1-BA3B-5429B9C53F3F}">
      <dgm:prSet/>
      <dgm:spPr/>
      <dgm:t>
        <a:bodyPr/>
        <a:lstStyle/>
        <a:p>
          <a:endParaRPr lang="fr-FR"/>
        </a:p>
      </dgm:t>
    </dgm:pt>
    <dgm:pt modelId="{43DB7532-FDB1-48BC-A27B-8BEE52C8A90D}">
      <dgm:prSet custT="1"/>
      <dgm:spPr/>
      <dgm:t>
        <a:bodyPr/>
        <a:lstStyle/>
        <a:p>
          <a:r>
            <a:rPr lang="fr-FR" sz="900" dirty="0" smtClean="0"/>
            <a:t>Renforcer le lien avec les Etablissements scolaires</a:t>
          </a:r>
          <a:endParaRPr lang="fr-FR" sz="900" dirty="0"/>
        </a:p>
      </dgm:t>
    </dgm:pt>
    <dgm:pt modelId="{00FC9DD8-6F25-45A8-A49D-20597257C65E}" type="parTrans" cxnId="{B7220CB4-2BD8-421A-97C2-1EA32772B3BB}">
      <dgm:prSet/>
      <dgm:spPr/>
      <dgm:t>
        <a:bodyPr/>
        <a:lstStyle/>
        <a:p>
          <a:endParaRPr lang="fr-FR"/>
        </a:p>
      </dgm:t>
    </dgm:pt>
    <dgm:pt modelId="{D8B7B629-AE56-4115-BDAC-43009812310C}" type="sibTrans" cxnId="{B7220CB4-2BD8-421A-97C2-1EA32772B3BB}">
      <dgm:prSet/>
      <dgm:spPr/>
      <dgm:t>
        <a:bodyPr/>
        <a:lstStyle/>
        <a:p>
          <a:endParaRPr lang="fr-FR"/>
        </a:p>
      </dgm:t>
    </dgm:pt>
    <dgm:pt modelId="{19357915-EF2E-4CF1-8F4A-DBE662A8050D}">
      <dgm:prSet phldrT="[Texte]" custT="1"/>
      <dgm:spPr/>
      <dgm:t>
        <a:bodyPr/>
        <a:lstStyle/>
        <a:p>
          <a:r>
            <a:rPr lang="fr-FR" sz="1200" dirty="0" smtClean="0"/>
            <a:t>Développer la compétition.</a:t>
          </a:r>
          <a:endParaRPr lang="fr-FR" sz="1200" dirty="0"/>
        </a:p>
      </dgm:t>
    </dgm:pt>
    <dgm:pt modelId="{2E4E0271-0E8D-4097-8C91-ACDA603F455C}" type="parTrans" cxnId="{3E2A7A02-1179-4760-BFD2-CB3A9E30C717}">
      <dgm:prSet/>
      <dgm:spPr/>
      <dgm:t>
        <a:bodyPr/>
        <a:lstStyle/>
        <a:p>
          <a:endParaRPr lang="fr-FR"/>
        </a:p>
      </dgm:t>
    </dgm:pt>
    <dgm:pt modelId="{78AA91B5-57AB-4914-AF25-890BBCCF602C}" type="sibTrans" cxnId="{3E2A7A02-1179-4760-BFD2-CB3A9E30C717}">
      <dgm:prSet/>
      <dgm:spPr/>
      <dgm:t>
        <a:bodyPr/>
        <a:lstStyle/>
        <a:p>
          <a:endParaRPr lang="fr-FR"/>
        </a:p>
      </dgm:t>
    </dgm:pt>
    <dgm:pt modelId="{6DC95473-E012-47A2-B3FF-F1B9A1EE91E6}">
      <dgm:prSet custT="1"/>
      <dgm:spPr/>
      <dgm:t>
        <a:bodyPr/>
        <a:lstStyle/>
        <a:p>
          <a:r>
            <a:rPr lang="fr-FR" sz="1200" dirty="0" smtClean="0"/>
            <a:t>Faire 2 tournois internes.</a:t>
          </a:r>
          <a:endParaRPr lang="fr-FR" sz="1200" dirty="0"/>
        </a:p>
      </dgm:t>
    </dgm:pt>
    <dgm:pt modelId="{11B67264-31DD-48D2-9C37-6575528DC805}" type="parTrans" cxnId="{036D9B08-5B80-4796-9689-B61FDE37BF96}">
      <dgm:prSet/>
      <dgm:spPr/>
      <dgm:t>
        <a:bodyPr/>
        <a:lstStyle/>
        <a:p>
          <a:endParaRPr lang="fr-FR"/>
        </a:p>
      </dgm:t>
    </dgm:pt>
    <dgm:pt modelId="{DC19814C-3C12-48AB-9E57-62BFEF26ADF9}" type="sibTrans" cxnId="{036D9B08-5B80-4796-9689-B61FDE37BF96}">
      <dgm:prSet/>
      <dgm:spPr/>
      <dgm:t>
        <a:bodyPr/>
        <a:lstStyle/>
        <a:p>
          <a:endParaRPr lang="fr-FR"/>
        </a:p>
      </dgm:t>
    </dgm:pt>
    <dgm:pt modelId="{ED63C554-90DB-4CE8-A416-BBEBCB493E1F}">
      <dgm:prSet custT="1"/>
      <dgm:spPr/>
      <dgm:t>
        <a:bodyPr/>
        <a:lstStyle/>
        <a:p>
          <a:r>
            <a:rPr lang="fr-FR" sz="1200" dirty="0" smtClean="0"/>
            <a:t>Faire deux tournois</a:t>
          </a:r>
          <a:endParaRPr lang="fr-FR" sz="1200" dirty="0"/>
        </a:p>
      </dgm:t>
    </dgm:pt>
    <dgm:pt modelId="{C7747E6F-E91B-4DB1-A7AD-961A384E2C49}" type="parTrans" cxnId="{A8D286BB-A602-4ECB-A484-8646F90CC0F3}">
      <dgm:prSet/>
      <dgm:spPr/>
      <dgm:t>
        <a:bodyPr/>
        <a:lstStyle/>
        <a:p>
          <a:endParaRPr lang="fr-FR"/>
        </a:p>
      </dgm:t>
    </dgm:pt>
    <dgm:pt modelId="{96798015-775B-40EB-AC98-CEA0B0230D01}" type="sibTrans" cxnId="{A8D286BB-A602-4ECB-A484-8646F90CC0F3}">
      <dgm:prSet/>
      <dgm:spPr/>
      <dgm:t>
        <a:bodyPr/>
        <a:lstStyle/>
        <a:p>
          <a:endParaRPr lang="fr-FR"/>
        </a:p>
      </dgm:t>
    </dgm:pt>
    <dgm:pt modelId="{63FAD344-58A0-4E7C-AA58-8482A9C85C21}">
      <dgm:prSet custT="1"/>
      <dgm:spPr/>
      <dgm:t>
        <a:bodyPr/>
        <a:lstStyle/>
        <a:p>
          <a:r>
            <a:rPr lang="fr-FR" sz="1200" dirty="0" smtClean="0"/>
            <a:t>Organiser un déplacement en province</a:t>
          </a:r>
          <a:endParaRPr lang="fr-FR" sz="1200" dirty="0"/>
        </a:p>
      </dgm:t>
    </dgm:pt>
    <dgm:pt modelId="{C6C10DDB-0E2C-47D0-A65B-09B701602829}" type="parTrans" cxnId="{4363DB51-330E-42D9-808D-D8EA324DF7A3}">
      <dgm:prSet/>
      <dgm:spPr/>
      <dgm:t>
        <a:bodyPr/>
        <a:lstStyle/>
        <a:p>
          <a:endParaRPr lang="fr-FR"/>
        </a:p>
      </dgm:t>
    </dgm:pt>
    <dgm:pt modelId="{FD9EB861-3A86-4D56-A36C-E58615630578}" type="sibTrans" cxnId="{4363DB51-330E-42D9-808D-D8EA324DF7A3}">
      <dgm:prSet/>
      <dgm:spPr/>
      <dgm:t>
        <a:bodyPr/>
        <a:lstStyle/>
        <a:p>
          <a:endParaRPr lang="fr-FR"/>
        </a:p>
      </dgm:t>
    </dgm:pt>
    <dgm:pt modelId="{F7F8EFB1-E37C-4557-84E9-AA6FBE1272F4}" type="pres">
      <dgm:prSet presAssocID="{B81EF0BA-FD53-4214-85B2-9FFCBB0F44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29E2440-7066-488A-B979-955B7AE3D9BA}" type="pres">
      <dgm:prSet presAssocID="{B81EF0BA-FD53-4214-85B2-9FFCBB0F4431}" presName="tSp" presStyleCnt="0"/>
      <dgm:spPr/>
    </dgm:pt>
    <dgm:pt modelId="{5FFD72D9-F02B-4BBF-87BC-BDDE1F53C9A2}" type="pres">
      <dgm:prSet presAssocID="{B81EF0BA-FD53-4214-85B2-9FFCBB0F4431}" presName="bSp" presStyleCnt="0"/>
      <dgm:spPr/>
    </dgm:pt>
    <dgm:pt modelId="{92D5FD64-36AC-4314-B13B-A48D548B7D40}" type="pres">
      <dgm:prSet presAssocID="{B81EF0BA-FD53-4214-85B2-9FFCBB0F4431}" presName="process" presStyleCnt="0"/>
      <dgm:spPr/>
    </dgm:pt>
    <dgm:pt modelId="{DDF9BA0A-B11B-4000-9103-DD50CA3AB9BB}" type="pres">
      <dgm:prSet presAssocID="{F39FBA36-9284-4D5C-BC0F-672728ABFF4D}" presName="composite1" presStyleCnt="0"/>
      <dgm:spPr/>
    </dgm:pt>
    <dgm:pt modelId="{430F6910-59C8-49A0-9F8A-395CA6C8E1EA}" type="pres">
      <dgm:prSet presAssocID="{F39FBA36-9284-4D5C-BC0F-672728ABFF4D}" presName="dummyNode1" presStyleLbl="node1" presStyleIdx="0" presStyleCnt="3"/>
      <dgm:spPr/>
    </dgm:pt>
    <dgm:pt modelId="{A57C8658-965B-4A02-AC2B-436CB5AEBFE8}" type="pres">
      <dgm:prSet presAssocID="{F39FBA36-9284-4D5C-BC0F-672728ABFF4D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6C3BA83-FFEE-4478-B59A-7825B87CB656}" type="pres">
      <dgm:prSet presAssocID="{F39FBA36-9284-4D5C-BC0F-672728ABFF4D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361F2B5-F566-4C4F-8CF9-9FF861B97A95}" type="pres">
      <dgm:prSet presAssocID="{F39FBA36-9284-4D5C-BC0F-672728ABFF4D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1227EC-CF56-4A9D-B53B-D51884D5986D}" type="pres">
      <dgm:prSet presAssocID="{F39FBA36-9284-4D5C-BC0F-672728ABFF4D}" presName="connSite1" presStyleCnt="0"/>
      <dgm:spPr/>
    </dgm:pt>
    <dgm:pt modelId="{DB88FCF4-2DE1-42FF-8E51-C3AE2D2595D3}" type="pres">
      <dgm:prSet presAssocID="{2F369554-C9BB-4DBA-9502-45A313151362}" presName="Name9" presStyleLbl="sibTrans2D1" presStyleIdx="0" presStyleCnt="2"/>
      <dgm:spPr/>
      <dgm:t>
        <a:bodyPr/>
        <a:lstStyle/>
        <a:p>
          <a:endParaRPr lang="fr-FR"/>
        </a:p>
      </dgm:t>
    </dgm:pt>
    <dgm:pt modelId="{D66E0934-1B9E-4BF1-86C6-40DBA8352447}" type="pres">
      <dgm:prSet presAssocID="{470450E9-0ACB-4FF1-AD2D-4673114CE135}" presName="composite2" presStyleCnt="0"/>
      <dgm:spPr/>
    </dgm:pt>
    <dgm:pt modelId="{FE7A6275-2276-4A81-AC6B-75515725E810}" type="pres">
      <dgm:prSet presAssocID="{470450E9-0ACB-4FF1-AD2D-4673114CE135}" presName="dummyNode2" presStyleLbl="node1" presStyleIdx="0" presStyleCnt="3"/>
      <dgm:spPr/>
    </dgm:pt>
    <dgm:pt modelId="{6C45F5F4-F913-4DEB-9F3D-F01F1E4CF6C6}" type="pres">
      <dgm:prSet presAssocID="{470450E9-0ACB-4FF1-AD2D-4673114CE135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3429F44-1CD8-4A8A-B21B-DE06DDDD4039}" type="pres">
      <dgm:prSet presAssocID="{470450E9-0ACB-4FF1-AD2D-4673114CE135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390BC2B-021E-4A02-ABE0-E8EFAA6BA3A4}" type="pres">
      <dgm:prSet presAssocID="{470450E9-0ACB-4FF1-AD2D-4673114CE135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2A5AF6-0121-445B-8E03-E00BCEBAE437}" type="pres">
      <dgm:prSet presAssocID="{470450E9-0ACB-4FF1-AD2D-4673114CE135}" presName="connSite2" presStyleCnt="0"/>
      <dgm:spPr/>
    </dgm:pt>
    <dgm:pt modelId="{46147BC4-DA08-43C4-87F3-5A2B7FA1D0DB}" type="pres">
      <dgm:prSet presAssocID="{E30F7CEB-7DBC-45C1-AAF8-9715EB40D96D}" presName="Name18" presStyleLbl="sibTrans2D1" presStyleIdx="1" presStyleCnt="2"/>
      <dgm:spPr/>
      <dgm:t>
        <a:bodyPr/>
        <a:lstStyle/>
        <a:p>
          <a:endParaRPr lang="fr-FR"/>
        </a:p>
      </dgm:t>
    </dgm:pt>
    <dgm:pt modelId="{37344B64-7500-4585-9D72-7FAEAFA5D38D}" type="pres">
      <dgm:prSet presAssocID="{ED54A4DA-30EE-4633-81E2-017472899CE8}" presName="composite1" presStyleCnt="0"/>
      <dgm:spPr/>
    </dgm:pt>
    <dgm:pt modelId="{3B5EC442-8603-4C80-AF8E-9FB65733359F}" type="pres">
      <dgm:prSet presAssocID="{ED54A4DA-30EE-4633-81E2-017472899CE8}" presName="dummyNode1" presStyleLbl="node1" presStyleIdx="1" presStyleCnt="3"/>
      <dgm:spPr/>
    </dgm:pt>
    <dgm:pt modelId="{7A111A14-D86D-4368-B1A3-B017CE774ECD}" type="pres">
      <dgm:prSet presAssocID="{ED54A4DA-30EE-4633-81E2-017472899CE8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0A9E55-E6F0-47DB-9C40-F385670FF0AE}" type="pres">
      <dgm:prSet presAssocID="{ED54A4DA-30EE-4633-81E2-017472899CE8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D5AED7-2AB2-446B-A3D4-454736791E8C}" type="pres">
      <dgm:prSet presAssocID="{ED54A4DA-30EE-4633-81E2-017472899CE8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D3413A-AC06-4A7D-94C6-132513819055}" type="pres">
      <dgm:prSet presAssocID="{ED54A4DA-30EE-4633-81E2-017472899CE8}" presName="connSite1" presStyleCnt="0"/>
      <dgm:spPr/>
    </dgm:pt>
  </dgm:ptLst>
  <dgm:cxnLst>
    <dgm:cxn modelId="{C6805270-30E6-4D1B-ACEE-51357F0FAC4B}" srcId="{470450E9-0ACB-4FF1-AD2D-4673114CE135}" destId="{FD87FE98-894A-49CB-BCFF-FAC58B49DC1C}" srcOrd="3" destOrd="0" parTransId="{E4A5A175-4271-45E6-B2E9-F5A645CEB461}" sibTransId="{F035AAB3-CFFD-4A27-BB9A-523E3A91B6BB}"/>
    <dgm:cxn modelId="{B7220CB4-2BD8-421A-97C2-1EA32772B3BB}" srcId="{470450E9-0ACB-4FF1-AD2D-4673114CE135}" destId="{43DB7532-FDB1-48BC-A27B-8BEE52C8A90D}" srcOrd="5" destOrd="0" parTransId="{00FC9DD8-6F25-45A8-A49D-20597257C65E}" sibTransId="{D8B7B629-AE56-4115-BDAC-43009812310C}"/>
    <dgm:cxn modelId="{B286FF9C-3E96-4FD1-BA3B-5429B9C53F3F}" srcId="{470450E9-0ACB-4FF1-AD2D-4673114CE135}" destId="{66453FC9-F8B1-44DA-ADF9-81536E373E6D}" srcOrd="4" destOrd="0" parTransId="{4FFDC2B9-699E-47CA-B11A-3F9AE8C5EBF9}" sibTransId="{DC2FC4B3-2DFB-41C0-9414-7034608F73F2}"/>
    <dgm:cxn modelId="{A7D5737E-5385-4F9D-9325-0AD8C617BEF0}" srcId="{F39FBA36-9284-4D5C-BC0F-672728ABFF4D}" destId="{B35A75BD-4FCE-4F8E-9D3B-9F4197BC7D84}" srcOrd="0" destOrd="0" parTransId="{2C271F12-DD49-4AE0-BC11-B6A06558CFFE}" sibTransId="{0E0E8084-84E2-4286-8124-302E3FB8FEF4}"/>
    <dgm:cxn modelId="{2A3573FF-23BB-4C8B-85B7-D710D0C955A7}" type="presOf" srcId="{F39FBA36-9284-4D5C-BC0F-672728ABFF4D}" destId="{E361F2B5-F566-4C4F-8CF9-9FF861B97A95}" srcOrd="0" destOrd="0" presId="urn:microsoft.com/office/officeart/2005/8/layout/hProcess4"/>
    <dgm:cxn modelId="{9A4148AB-A39F-4D11-827A-BB0E491CCED8}" type="presOf" srcId="{B35A75BD-4FCE-4F8E-9D3B-9F4197BC7D84}" destId="{A57C8658-965B-4A02-AC2B-436CB5AEBFE8}" srcOrd="0" destOrd="0" presId="urn:microsoft.com/office/officeart/2005/8/layout/hProcess4"/>
    <dgm:cxn modelId="{691D5EB4-BB91-4B33-8029-E140CBF3FCA9}" type="presOf" srcId="{5368F0B6-81B5-472B-B4ED-50635FEA48F8}" destId="{6C45F5F4-F913-4DEB-9F3D-F01F1E4CF6C6}" srcOrd="0" destOrd="0" presId="urn:microsoft.com/office/officeart/2005/8/layout/hProcess4"/>
    <dgm:cxn modelId="{8FC68D5D-37AE-487F-B70C-B3ECE727645D}" type="presOf" srcId="{D4CB6F76-56E7-4B56-A511-808BC444AAB0}" destId="{6C45F5F4-F913-4DEB-9F3D-F01F1E4CF6C6}" srcOrd="0" destOrd="2" presId="urn:microsoft.com/office/officeart/2005/8/layout/hProcess4"/>
    <dgm:cxn modelId="{98E0DBB4-F71B-40CE-8FE7-C55CB413BBB2}" type="presOf" srcId="{ED54A4DA-30EE-4633-81E2-017472899CE8}" destId="{6ED5AED7-2AB2-446B-A3D4-454736791E8C}" srcOrd="0" destOrd="0" presId="urn:microsoft.com/office/officeart/2005/8/layout/hProcess4"/>
    <dgm:cxn modelId="{F1BBC325-8DDE-4F16-BAE8-F05B054B36B8}" type="presOf" srcId="{66453FC9-F8B1-44DA-ADF9-81536E373E6D}" destId="{C3429F44-1CD8-4A8A-B21B-DE06DDDD4039}" srcOrd="1" destOrd="4" presId="urn:microsoft.com/office/officeart/2005/8/layout/hProcess4"/>
    <dgm:cxn modelId="{10CC69B9-F297-4040-A0F5-954DC3C91FF2}" type="presOf" srcId="{63FAD344-58A0-4E7C-AA58-8482A9C85C21}" destId="{6B0A9E55-E6F0-47DB-9C40-F385670FF0AE}" srcOrd="1" destOrd="3" presId="urn:microsoft.com/office/officeart/2005/8/layout/hProcess4"/>
    <dgm:cxn modelId="{5AADCC57-A02E-4214-A70C-9C328F3185A1}" type="presOf" srcId="{A0F1136D-765F-4423-BD8B-2D7261FC1BA3}" destId="{26C3BA83-FFEE-4478-B59A-7825B87CB656}" srcOrd="1" destOrd="3" presId="urn:microsoft.com/office/officeart/2005/8/layout/hProcess4"/>
    <dgm:cxn modelId="{B2AB4BFD-8BC9-462E-94FD-33CEE4E84261}" type="presOf" srcId="{43DB7532-FDB1-48BC-A27B-8BEE52C8A90D}" destId="{C3429F44-1CD8-4A8A-B21B-DE06DDDD4039}" srcOrd="1" destOrd="5" presId="urn:microsoft.com/office/officeart/2005/8/layout/hProcess4"/>
    <dgm:cxn modelId="{844FB0EC-C5B9-4051-B000-86B1ADC22F44}" srcId="{B81EF0BA-FD53-4214-85B2-9FFCBB0F4431}" destId="{F39FBA36-9284-4D5C-BC0F-672728ABFF4D}" srcOrd="0" destOrd="0" parTransId="{45DC417E-4EFD-4139-BF09-9F19D9CF0B72}" sibTransId="{2F369554-C9BB-4DBA-9502-45A313151362}"/>
    <dgm:cxn modelId="{FF23836E-398D-4BFF-B2B0-454225611357}" type="presOf" srcId="{E30F7CEB-7DBC-45C1-AAF8-9715EB40D96D}" destId="{46147BC4-DA08-43C4-87F3-5A2B7FA1D0DB}" srcOrd="0" destOrd="0" presId="urn:microsoft.com/office/officeart/2005/8/layout/hProcess4"/>
    <dgm:cxn modelId="{9F8E7555-C19A-47E6-BFB9-955436964D41}" type="presOf" srcId="{B81EF0BA-FD53-4214-85B2-9FFCBB0F4431}" destId="{F7F8EFB1-E37C-4557-84E9-AA6FBE1272F4}" srcOrd="0" destOrd="0" presId="urn:microsoft.com/office/officeart/2005/8/layout/hProcess4"/>
    <dgm:cxn modelId="{D0CD3481-C33F-4C14-9A5A-27D2446522BC}" srcId="{B81EF0BA-FD53-4214-85B2-9FFCBB0F4431}" destId="{ED54A4DA-30EE-4633-81E2-017472899CE8}" srcOrd="2" destOrd="0" parTransId="{3AA76E0B-F200-4B70-86A7-8C1F04E6C01F}" sibTransId="{462FE2DE-381E-42E1-B377-1930168B9B4F}"/>
    <dgm:cxn modelId="{48909640-B3B3-4C41-BAB5-BF6A555FD039}" type="presOf" srcId="{19357915-EF2E-4CF1-8F4A-DBE662A8050D}" destId="{6B0A9E55-E6F0-47DB-9C40-F385670FF0AE}" srcOrd="1" destOrd="0" presId="urn:microsoft.com/office/officeart/2005/8/layout/hProcess4"/>
    <dgm:cxn modelId="{EAF83926-8F36-40AD-889B-4358A4A60A19}" type="presOf" srcId="{2F369554-C9BB-4DBA-9502-45A313151362}" destId="{DB88FCF4-2DE1-42FF-8E51-C3AE2D2595D3}" srcOrd="0" destOrd="0" presId="urn:microsoft.com/office/officeart/2005/8/layout/hProcess4"/>
    <dgm:cxn modelId="{ABE5F5F6-2807-44D0-979B-8DB94293FD72}" type="presOf" srcId="{EF017B09-A800-4DD2-B66E-420E7295B575}" destId="{6C45F5F4-F913-4DEB-9F3D-F01F1E4CF6C6}" srcOrd="0" destOrd="1" presId="urn:microsoft.com/office/officeart/2005/8/layout/hProcess4"/>
    <dgm:cxn modelId="{4363DB51-330E-42D9-808D-D8EA324DF7A3}" srcId="{ED54A4DA-30EE-4633-81E2-017472899CE8}" destId="{63FAD344-58A0-4E7C-AA58-8482A9C85C21}" srcOrd="3" destOrd="0" parTransId="{C6C10DDB-0E2C-47D0-A65B-09B701602829}" sibTransId="{FD9EB861-3A86-4D56-A36C-E58615630578}"/>
    <dgm:cxn modelId="{E4501B73-CED0-4E71-904B-80B163D03C6C}" type="presOf" srcId="{6DC95473-E012-47A2-B3FF-F1B9A1EE91E6}" destId="{7A111A14-D86D-4368-B1A3-B017CE774ECD}" srcOrd="0" destOrd="1" presId="urn:microsoft.com/office/officeart/2005/8/layout/hProcess4"/>
    <dgm:cxn modelId="{558CA36B-6914-4D00-AC4E-E354FC214B64}" srcId="{470450E9-0ACB-4FF1-AD2D-4673114CE135}" destId="{5368F0B6-81B5-472B-B4ED-50635FEA48F8}" srcOrd="0" destOrd="0" parTransId="{4B91024B-95FA-4092-A2EB-F77A1A090DC7}" sibTransId="{235CE731-AB4C-4BAA-9475-5AAC73E123D2}"/>
    <dgm:cxn modelId="{80921C6D-39CD-458E-BB74-38A6EF259D1E}" type="presOf" srcId="{B35A75BD-4FCE-4F8E-9D3B-9F4197BC7D84}" destId="{26C3BA83-FFEE-4478-B59A-7825B87CB656}" srcOrd="1" destOrd="0" presId="urn:microsoft.com/office/officeart/2005/8/layout/hProcess4"/>
    <dgm:cxn modelId="{7435A5BB-BC84-4FE5-AD91-D900780CD451}" type="presOf" srcId="{6DC95473-E012-47A2-B3FF-F1B9A1EE91E6}" destId="{6B0A9E55-E6F0-47DB-9C40-F385670FF0AE}" srcOrd="1" destOrd="1" presId="urn:microsoft.com/office/officeart/2005/8/layout/hProcess4"/>
    <dgm:cxn modelId="{90EC5D0F-5C2B-4806-B41F-EF8C334C3B88}" srcId="{F39FBA36-9284-4D5C-BC0F-672728ABFF4D}" destId="{A0F1136D-765F-4423-BD8B-2D7261FC1BA3}" srcOrd="3" destOrd="0" parTransId="{C41BDEC4-112A-4CB9-B1AA-49CA475E856C}" sibTransId="{808DD603-FE83-45A6-96C4-D481EF935F06}"/>
    <dgm:cxn modelId="{56584A4C-8362-4423-9C26-8912DCD32E4B}" type="presOf" srcId="{63FAD344-58A0-4E7C-AA58-8482A9C85C21}" destId="{7A111A14-D86D-4368-B1A3-B017CE774ECD}" srcOrd="0" destOrd="3" presId="urn:microsoft.com/office/officeart/2005/8/layout/hProcess4"/>
    <dgm:cxn modelId="{FFB734B3-124F-48CA-8115-83B207A557B6}" type="presOf" srcId="{66453FC9-F8B1-44DA-ADF9-81536E373E6D}" destId="{6C45F5F4-F913-4DEB-9F3D-F01F1E4CF6C6}" srcOrd="0" destOrd="4" presId="urn:microsoft.com/office/officeart/2005/8/layout/hProcess4"/>
    <dgm:cxn modelId="{3DEBD75E-DE44-4B33-AAD2-7EDF00E35D6C}" type="presOf" srcId="{470450E9-0ACB-4FF1-AD2D-4673114CE135}" destId="{6390BC2B-021E-4A02-ABE0-E8EFAA6BA3A4}" srcOrd="0" destOrd="0" presId="urn:microsoft.com/office/officeart/2005/8/layout/hProcess4"/>
    <dgm:cxn modelId="{644D228C-8880-4DB2-A5D1-14E4BA6785DA}" srcId="{F39FBA36-9284-4D5C-BC0F-672728ABFF4D}" destId="{FE19265B-CD2F-455E-9004-49B6A4F8937E}" srcOrd="1" destOrd="0" parTransId="{75FBA74E-1DBF-4BBF-A2A8-1DB3A5650090}" sibTransId="{2E443836-4BD8-49A7-8EFA-BC1B22FE836A}"/>
    <dgm:cxn modelId="{5D839A47-563D-4657-B655-15E677A3204E}" srcId="{B81EF0BA-FD53-4214-85B2-9FFCBB0F4431}" destId="{470450E9-0ACB-4FF1-AD2D-4673114CE135}" srcOrd="1" destOrd="0" parTransId="{7C20824D-E043-42A9-87AE-4D561F88CE3D}" sibTransId="{E30F7CEB-7DBC-45C1-AAF8-9715EB40D96D}"/>
    <dgm:cxn modelId="{7D1AC8A8-9075-4193-974D-645F5E4B9EE2}" type="presOf" srcId="{19357915-EF2E-4CF1-8F4A-DBE662A8050D}" destId="{7A111A14-D86D-4368-B1A3-B017CE774ECD}" srcOrd="0" destOrd="0" presId="urn:microsoft.com/office/officeart/2005/8/layout/hProcess4"/>
    <dgm:cxn modelId="{036D9B08-5B80-4796-9689-B61FDE37BF96}" srcId="{ED54A4DA-30EE-4633-81E2-017472899CE8}" destId="{6DC95473-E012-47A2-B3FF-F1B9A1EE91E6}" srcOrd="1" destOrd="0" parTransId="{11B67264-31DD-48D2-9C37-6575528DC805}" sibTransId="{DC19814C-3C12-48AB-9E57-62BFEF26ADF9}"/>
    <dgm:cxn modelId="{56804805-FDE1-4DB5-AD71-0AAC662AB039}" type="presOf" srcId="{FD87FE98-894A-49CB-BCFF-FAC58B49DC1C}" destId="{6C45F5F4-F913-4DEB-9F3D-F01F1E4CF6C6}" srcOrd="0" destOrd="3" presId="urn:microsoft.com/office/officeart/2005/8/layout/hProcess4"/>
    <dgm:cxn modelId="{FEF83D22-5863-4746-8763-FB0D0868DCD1}" type="presOf" srcId="{ED63C554-90DB-4CE8-A416-BBEBCB493E1F}" destId="{7A111A14-D86D-4368-B1A3-B017CE774ECD}" srcOrd="0" destOrd="2" presId="urn:microsoft.com/office/officeart/2005/8/layout/hProcess4"/>
    <dgm:cxn modelId="{F7A34172-3D1C-4C1D-BFE0-F9E43DF2C08A}" type="presOf" srcId="{D4CB6F76-56E7-4B56-A511-808BC444AAB0}" destId="{C3429F44-1CD8-4A8A-B21B-DE06DDDD4039}" srcOrd="1" destOrd="2" presId="urn:microsoft.com/office/officeart/2005/8/layout/hProcess4"/>
    <dgm:cxn modelId="{321DBE94-CCFE-4334-B7A9-9FB93CA8296C}" type="presOf" srcId="{ED63C554-90DB-4CE8-A416-BBEBCB493E1F}" destId="{6B0A9E55-E6F0-47DB-9C40-F385670FF0AE}" srcOrd="1" destOrd="2" presId="urn:microsoft.com/office/officeart/2005/8/layout/hProcess4"/>
    <dgm:cxn modelId="{B04F84F0-8D84-4EAE-9DAF-2C5477C0B847}" srcId="{F39FBA36-9284-4D5C-BC0F-672728ABFF4D}" destId="{1DD8B056-69B9-47D6-A54B-619422599011}" srcOrd="2" destOrd="0" parTransId="{C74A5DDC-583A-4D31-B9F5-B5DCCECD27DF}" sibTransId="{244B276C-A6EC-43CE-A14D-A9ED51DE36F0}"/>
    <dgm:cxn modelId="{2B0BAF89-9B8C-4BE6-B5B1-352F96D9B0BA}" type="presOf" srcId="{FE19265B-CD2F-455E-9004-49B6A4F8937E}" destId="{26C3BA83-FFEE-4478-B59A-7825B87CB656}" srcOrd="1" destOrd="1" presId="urn:microsoft.com/office/officeart/2005/8/layout/hProcess4"/>
    <dgm:cxn modelId="{4DC10072-6914-4287-8CA9-4E93E80A1D62}" type="presOf" srcId="{1DD8B056-69B9-47D6-A54B-619422599011}" destId="{A57C8658-965B-4A02-AC2B-436CB5AEBFE8}" srcOrd="0" destOrd="2" presId="urn:microsoft.com/office/officeart/2005/8/layout/hProcess4"/>
    <dgm:cxn modelId="{4BBB0BBA-0EF4-48F7-980A-56706B69C255}" type="presOf" srcId="{5368F0B6-81B5-472B-B4ED-50635FEA48F8}" destId="{C3429F44-1CD8-4A8A-B21B-DE06DDDD4039}" srcOrd="1" destOrd="0" presId="urn:microsoft.com/office/officeart/2005/8/layout/hProcess4"/>
    <dgm:cxn modelId="{632B0659-011E-47E2-9B15-9A3DD24468C5}" type="presOf" srcId="{FE19265B-CD2F-455E-9004-49B6A4F8937E}" destId="{A57C8658-965B-4A02-AC2B-436CB5AEBFE8}" srcOrd="0" destOrd="1" presId="urn:microsoft.com/office/officeart/2005/8/layout/hProcess4"/>
    <dgm:cxn modelId="{3E2A7A02-1179-4760-BFD2-CB3A9E30C717}" srcId="{ED54A4DA-30EE-4633-81E2-017472899CE8}" destId="{19357915-EF2E-4CF1-8F4A-DBE662A8050D}" srcOrd="0" destOrd="0" parTransId="{2E4E0271-0E8D-4097-8C91-ACDA603F455C}" sibTransId="{78AA91B5-57AB-4914-AF25-890BBCCF602C}"/>
    <dgm:cxn modelId="{B1287546-E7BF-4F2D-A48D-7931B35A8EEE}" type="presOf" srcId="{EF017B09-A800-4DD2-B66E-420E7295B575}" destId="{C3429F44-1CD8-4A8A-B21B-DE06DDDD4039}" srcOrd="1" destOrd="1" presId="urn:microsoft.com/office/officeart/2005/8/layout/hProcess4"/>
    <dgm:cxn modelId="{D4BB8B9E-2D98-4F72-8DED-8F7E79C8AB29}" type="presOf" srcId="{43DB7532-FDB1-48BC-A27B-8BEE52C8A90D}" destId="{6C45F5F4-F913-4DEB-9F3D-F01F1E4CF6C6}" srcOrd="0" destOrd="5" presId="urn:microsoft.com/office/officeart/2005/8/layout/hProcess4"/>
    <dgm:cxn modelId="{A8D286BB-A602-4ECB-A484-8646F90CC0F3}" srcId="{ED54A4DA-30EE-4633-81E2-017472899CE8}" destId="{ED63C554-90DB-4CE8-A416-BBEBCB493E1F}" srcOrd="2" destOrd="0" parTransId="{C7747E6F-E91B-4DB1-A7AD-961A384E2C49}" sibTransId="{96798015-775B-40EB-AC98-CEA0B0230D01}"/>
    <dgm:cxn modelId="{1D19B060-D1D8-4FAD-B3C1-3BBC03D23DB5}" type="presOf" srcId="{1DD8B056-69B9-47D6-A54B-619422599011}" destId="{26C3BA83-FFEE-4478-B59A-7825B87CB656}" srcOrd="1" destOrd="2" presId="urn:microsoft.com/office/officeart/2005/8/layout/hProcess4"/>
    <dgm:cxn modelId="{FD9B5AF5-9B98-470B-9DC9-71E7FA9D063D}" srcId="{470450E9-0ACB-4FF1-AD2D-4673114CE135}" destId="{D4CB6F76-56E7-4B56-A511-808BC444AAB0}" srcOrd="2" destOrd="0" parTransId="{84883857-B677-4732-8400-C447F4EF5F41}" sibTransId="{AD264AE5-E060-4E69-BE52-DECBBCB9D572}"/>
    <dgm:cxn modelId="{2743DFA2-F473-4151-A6BC-D61FFB709741}" srcId="{470450E9-0ACB-4FF1-AD2D-4673114CE135}" destId="{EF017B09-A800-4DD2-B66E-420E7295B575}" srcOrd="1" destOrd="0" parTransId="{3DB0A931-C136-4EE9-BB02-43B12E8DBE62}" sibTransId="{C5328DCC-812B-484E-A70F-0B42DE786FB9}"/>
    <dgm:cxn modelId="{D6F0370A-22B7-407B-B7FE-E060C1963F6A}" type="presOf" srcId="{FD87FE98-894A-49CB-BCFF-FAC58B49DC1C}" destId="{C3429F44-1CD8-4A8A-B21B-DE06DDDD4039}" srcOrd="1" destOrd="3" presId="urn:microsoft.com/office/officeart/2005/8/layout/hProcess4"/>
    <dgm:cxn modelId="{6342427F-81BA-4416-B654-C39B2AC7CF3C}" type="presOf" srcId="{A0F1136D-765F-4423-BD8B-2D7261FC1BA3}" destId="{A57C8658-965B-4A02-AC2B-436CB5AEBFE8}" srcOrd="0" destOrd="3" presId="urn:microsoft.com/office/officeart/2005/8/layout/hProcess4"/>
    <dgm:cxn modelId="{B2965AAD-4EAF-44A7-AE2A-7DCC8400FE28}" type="presParOf" srcId="{F7F8EFB1-E37C-4557-84E9-AA6FBE1272F4}" destId="{929E2440-7066-488A-B979-955B7AE3D9BA}" srcOrd="0" destOrd="0" presId="urn:microsoft.com/office/officeart/2005/8/layout/hProcess4"/>
    <dgm:cxn modelId="{97A2A295-9BC8-4CEC-AD79-DB5ACD0DC105}" type="presParOf" srcId="{F7F8EFB1-E37C-4557-84E9-AA6FBE1272F4}" destId="{5FFD72D9-F02B-4BBF-87BC-BDDE1F53C9A2}" srcOrd="1" destOrd="0" presId="urn:microsoft.com/office/officeart/2005/8/layout/hProcess4"/>
    <dgm:cxn modelId="{0563D46C-2318-4127-A93D-030856E4C69E}" type="presParOf" srcId="{F7F8EFB1-E37C-4557-84E9-AA6FBE1272F4}" destId="{92D5FD64-36AC-4314-B13B-A48D548B7D40}" srcOrd="2" destOrd="0" presId="urn:microsoft.com/office/officeart/2005/8/layout/hProcess4"/>
    <dgm:cxn modelId="{01DF02AE-E86A-4418-A451-66449D2D1FF3}" type="presParOf" srcId="{92D5FD64-36AC-4314-B13B-A48D548B7D40}" destId="{DDF9BA0A-B11B-4000-9103-DD50CA3AB9BB}" srcOrd="0" destOrd="0" presId="urn:microsoft.com/office/officeart/2005/8/layout/hProcess4"/>
    <dgm:cxn modelId="{73656FBD-FF1D-40A7-AD86-831FB9E51619}" type="presParOf" srcId="{DDF9BA0A-B11B-4000-9103-DD50CA3AB9BB}" destId="{430F6910-59C8-49A0-9F8A-395CA6C8E1EA}" srcOrd="0" destOrd="0" presId="urn:microsoft.com/office/officeart/2005/8/layout/hProcess4"/>
    <dgm:cxn modelId="{0EF809B7-EAC5-40D0-9CB1-7CDF5A5B7896}" type="presParOf" srcId="{DDF9BA0A-B11B-4000-9103-DD50CA3AB9BB}" destId="{A57C8658-965B-4A02-AC2B-436CB5AEBFE8}" srcOrd="1" destOrd="0" presId="urn:microsoft.com/office/officeart/2005/8/layout/hProcess4"/>
    <dgm:cxn modelId="{F684AE81-5BCF-4B40-B9E2-1F34393CF166}" type="presParOf" srcId="{DDF9BA0A-B11B-4000-9103-DD50CA3AB9BB}" destId="{26C3BA83-FFEE-4478-B59A-7825B87CB656}" srcOrd="2" destOrd="0" presId="urn:microsoft.com/office/officeart/2005/8/layout/hProcess4"/>
    <dgm:cxn modelId="{771394BF-C1D4-419F-8412-A2FAABF033DA}" type="presParOf" srcId="{DDF9BA0A-B11B-4000-9103-DD50CA3AB9BB}" destId="{E361F2B5-F566-4C4F-8CF9-9FF861B97A95}" srcOrd="3" destOrd="0" presId="urn:microsoft.com/office/officeart/2005/8/layout/hProcess4"/>
    <dgm:cxn modelId="{EA31CF4F-71D6-4948-96B6-889B0490D9FF}" type="presParOf" srcId="{DDF9BA0A-B11B-4000-9103-DD50CA3AB9BB}" destId="{CE1227EC-CF56-4A9D-B53B-D51884D5986D}" srcOrd="4" destOrd="0" presId="urn:microsoft.com/office/officeart/2005/8/layout/hProcess4"/>
    <dgm:cxn modelId="{363BDF43-86F0-46B5-A853-8929E42DFF3C}" type="presParOf" srcId="{92D5FD64-36AC-4314-B13B-A48D548B7D40}" destId="{DB88FCF4-2DE1-42FF-8E51-C3AE2D2595D3}" srcOrd="1" destOrd="0" presId="urn:microsoft.com/office/officeart/2005/8/layout/hProcess4"/>
    <dgm:cxn modelId="{04449903-343E-4711-8AA7-295CF4F4D275}" type="presParOf" srcId="{92D5FD64-36AC-4314-B13B-A48D548B7D40}" destId="{D66E0934-1B9E-4BF1-86C6-40DBA8352447}" srcOrd="2" destOrd="0" presId="urn:microsoft.com/office/officeart/2005/8/layout/hProcess4"/>
    <dgm:cxn modelId="{FB274058-7F14-4B41-BBDE-FD100D5C7637}" type="presParOf" srcId="{D66E0934-1B9E-4BF1-86C6-40DBA8352447}" destId="{FE7A6275-2276-4A81-AC6B-75515725E810}" srcOrd="0" destOrd="0" presId="urn:microsoft.com/office/officeart/2005/8/layout/hProcess4"/>
    <dgm:cxn modelId="{F83C156B-A690-4307-9A48-05F45B4773F5}" type="presParOf" srcId="{D66E0934-1B9E-4BF1-86C6-40DBA8352447}" destId="{6C45F5F4-F913-4DEB-9F3D-F01F1E4CF6C6}" srcOrd="1" destOrd="0" presId="urn:microsoft.com/office/officeart/2005/8/layout/hProcess4"/>
    <dgm:cxn modelId="{05D9A2F2-6469-4FAD-B2E2-23DAB505E557}" type="presParOf" srcId="{D66E0934-1B9E-4BF1-86C6-40DBA8352447}" destId="{C3429F44-1CD8-4A8A-B21B-DE06DDDD4039}" srcOrd="2" destOrd="0" presId="urn:microsoft.com/office/officeart/2005/8/layout/hProcess4"/>
    <dgm:cxn modelId="{41644763-1E40-49D9-BE9E-FD53951049CA}" type="presParOf" srcId="{D66E0934-1B9E-4BF1-86C6-40DBA8352447}" destId="{6390BC2B-021E-4A02-ABE0-E8EFAA6BA3A4}" srcOrd="3" destOrd="0" presId="urn:microsoft.com/office/officeart/2005/8/layout/hProcess4"/>
    <dgm:cxn modelId="{4FEF0773-70ED-4A73-9785-658A9E6D3EE9}" type="presParOf" srcId="{D66E0934-1B9E-4BF1-86C6-40DBA8352447}" destId="{772A5AF6-0121-445B-8E03-E00BCEBAE437}" srcOrd="4" destOrd="0" presId="urn:microsoft.com/office/officeart/2005/8/layout/hProcess4"/>
    <dgm:cxn modelId="{58C1BE67-EC39-458F-9325-A58517C6192E}" type="presParOf" srcId="{92D5FD64-36AC-4314-B13B-A48D548B7D40}" destId="{46147BC4-DA08-43C4-87F3-5A2B7FA1D0DB}" srcOrd="3" destOrd="0" presId="urn:microsoft.com/office/officeart/2005/8/layout/hProcess4"/>
    <dgm:cxn modelId="{BBB5320D-A4DB-4017-A6B1-E06CE4F7A096}" type="presParOf" srcId="{92D5FD64-36AC-4314-B13B-A48D548B7D40}" destId="{37344B64-7500-4585-9D72-7FAEAFA5D38D}" srcOrd="4" destOrd="0" presId="urn:microsoft.com/office/officeart/2005/8/layout/hProcess4"/>
    <dgm:cxn modelId="{E3ED91A8-B89F-42B1-A37F-074B4EE6C98E}" type="presParOf" srcId="{37344B64-7500-4585-9D72-7FAEAFA5D38D}" destId="{3B5EC442-8603-4C80-AF8E-9FB65733359F}" srcOrd="0" destOrd="0" presId="urn:microsoft.com/office/officeart/2005/8/layout/hProcess4"/>
    <dgm:cxn modelId="{DB2BC580-D602-4960-B69F-C9649156F4AB}" type="presParOf" srcId="{37344B64-7500-4585-9D72-7FAEAFA5D38D}" destId="{7A111A14-D86D-4368-B1A3-B017CE774ECD}" srcOrd="1" destOrd="0" presId="urn:microsoft.com/office/officeart/2005/8/layout/hProcess4"/>
    <dgm:cxn modelId="{EE21646F-BB92-4FE4-B3D5-93FC3392F596}" type="presParOf" srcId="{37344B64-7500-4585-9D72-7FAEAFA5D38D}" destId="{6B0A9E55-E6F0-47DB-9C40-F385670FF0AE}" srcOrd="2" destOrd="0" presId="urn:microsoft.com/office/officeart/2005/8/layout/hProcess4"/>
    <dgm:cxn modelId="{74B09891-5414-48E7-914C-6B8253403911}" type="presParOf" srcId="{37344B64-7500-4585-9D72-7FAEAFA5D38D}" destId="{6ED5AED7-2AB2-446B-A3D4-454736791E8C}" srcOrd="3" destOrd="0" presId="urn:microsoft.com/office/officeart/2005/8/layout/hProcess4"/>
    <dgm:cxn modelId="{71AA9437-ACB4-493E-BDD6-D6E832F929C2}" type="presParOf" srcId="{37344B64-7500-4585-9D72-7FAEAFA5D38D}" destId="{2ED3413A-AC06-4A7D-94C6-132513819055}" srcOrd="4" destOrd="0" presId="urn:microsoft.com/office/officeart/2005/8/layout/hProcess4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81EF0BA-FD53-4214-85B2-9FFCBB0F4431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39FBA36-9284-4D5C-BC0F-672728ABFF4D}">
      <dgm:prSet phldrT="[Texte]"/>
      <dgm:spPr/>
      <dgm:t>
        <a:bodyPr/>
        <a:lstStyle/>
        <a:p>
          <a:r>
            <a:rPr lang="fr-FR" dirty="0" smtClean="0"/>
            <a:t>2015-2016</a:t>
          </a:r>
          <a:endParaRPr lang="fr-FR" dirty="0"/>
        </a:p>
      </dgm:t>
    </dgm:pt>
    <dgm:pt modelId="{45DC417E-4EFD-4139-BF09-9F19D9CF0B72}" type="parTrans" cxnId="{844FB0EC-C5B9-4051-B000-86B1ADC22F44}">
      <dgm:prSet/>
      <dgm:spPr/>
      <dgm:t>
        <a:bodyPr/>
        <a:lstStyle/>
        <a:p>
          <a:endParaRPr lang="fr-FR"/>
        </a:p>
      </dgm:t>
    </dgm:pt>
    <dgm:pt modelId="{2F369554-C9BB-4DBA-9502-45A313151362}" type="sibTrans" cxnId="{844FB0EC-C5B9-4051-B000-86B1ADC22F44}">
      <dgm:prSet/>
      <dgm:spPr/>
      <dgm:t>
        <a:bodyPr/>
        <a:lstStyle/>
        <a:p>
          <a:endParaRPr lang="fr-FR"/>
        </a:p>
      </dgm:t>
    </dgm:pt>
    <dgm:pt modelId="{B35A75BD-4FCE-4F8E-9D3B-9F4197BC7D84}">
      <dgm:prSet phldrT="[Texte]"/>
      <dgm:spPr/>
      <dgm:t>
        <a:bodyPr/>
        <a:lstStyle/>
        <a:p>
          <a:r>
            <a:rPr lang="fr-FR" smtClean="0"/>
            <a:t>Décider l’arrêt de la Gymnastique acrobatique</a:t>
          </a:r>
          <a:endParaRPr lang="fr-FR" dirty="0"/>
        </a:p>
      </dgm:t>
    </dgm:pt>
    <dgm:pt modelId="{2C271F12-DD49-4AE0-BC11-B6A06558CFFE}" type="parTrans" cxnId="{A7D5737E-5385-4F9D-9325-0AD8C617BEF0}">
      <dgm:prSet/>
      <dgm:spPr/>
      <dgm:t>
        <a:bodyPr/>
        <a:lstStyle/>
        <a:p>
          <a:endParaRPr lang="fr-FR"/>
        </a:p>
      </dgm:t>
    </dgm:pt>
    <dgm:pt modelId="{0E0E8084-84E2-4286-8124-302E3FB8FEF4}" type="sibTrans" cxnId="{A7D5737E-5385-4F9D-9325-0AD8C617BEF0}">
      <dgm:prSet/>
      <dgm:spPr/>
      <dgm:t>
        <a:bodyPr/>
        <a:lstStyle/>
        <a:p>
          <a:endParaRPr lang="fr-FR"/>
        </a:p>
      </dgm:t>
    </dgm:pt>
    <dgm:pt modelId="{470450E9-0ACB-4FF1-AD2D-4673114CE135}">
      <dgm:prSet phldrT="[Texte]"/>
      <dgm:spPr/>
      <dgm:t>
        <a:bodyPr/>
        <a:lstStyle/>
        <a:p>
          <a:r>
            <a:rPr lang="fr-FR" dirty="0" smtClean="0"/>
            <a:t>2016-2017</a:t>
          </a:r>
          <a:endParaRPr lang="fr-FR" dirty="0"/>
        </a:p>
      </dgm:t>
    </dgm:pt>
    <dgm:pt modelId="{7C20824D-E043-42A9-87AE-4D561F88CE3D}" type="parTrans" cxnId="{5D839A47-563D-4657-B655-15E677A3204E}">
      <dgm:prSet/>
      <dgm:spPr/>
      <dgm:t>
        <a:bodyPr/>
        <a:lstStyle/>
        <a:p>
          <a:endParaRPr lang="fr-FR"/>
        </a:p>
      </dgm:t>
    </dgm:pt>
    <dgm:pt modelId="{E30F7CEB-7DBC-45C1-AAF8-9715EB40D96D}" type="sibTrans" cxnId="{5D839A47-563D-4657-B655-15E677A3204E}">
      <dgm:prSet/>
      <dgm:spPr/>
      <dgm:t>
        <a:bodyPr/>
        <a:lstStyle/>
        <a:p>
          <a:endParaRPr lang="fr-FR"/>
        </a:p>
      </dgm:t>
    </dgm:pt>
    <dgm:pt modelId="{ED54A4DA-30EE-4633-81E2-017472899CE8}">
      <dgm:prSet phldrT="[Texte]"/>
      <dgm:spPr/>
      <dgm:t>
        <a:bodyPr/>
        <a:lstStyle/>
        <a:p>
          <a:r>
            <a:rPr lang="fr-FR" dirty="0" smtClean="0"/>
            <a:t>2017-2018</a:t>
          </a:r>
          <a:endParaRPr lang="fr-FR" dirty="0"/>
        </a:p>
      </dgm:t>
    </dgm:pt>
    <dgm:pt modelId="{3AA76E0B-F200-4B70-86A7-8C1F04E6C01F}" type="parTrans" cxnId="{D0CD3481-C33F-4C14-9A5A-27D2446522BC}">
      <dgm:prSet/>
      <dgm:spPr/>
      <dgm:t>
        <a:bodyPr/>
        <a:lstStyle/>
        <a:p>
          <a:endParaRPr lang="fr-FR"/>
        </a:p>
      </dgm:t>
    </dgm:pt>
    <dgm:pt modelId="{462FE2DE-381E-42E1-B377-1930168B9B4F}" type="sibTrans" cxnId="{D0CD3481-C33F-4C14-9A5A-27D2446522BC}">
      <dgm:prSet/>
      <dgm:spPr/>
      <dgm:t>
        <a:bodyPr/>
        <a:lstStyle/>
        <a:p>
          <a:endParaRPr lang="fr-FR"/>
        </a:p>
      </dgm:t>
    </dgm:pt>
    <dgm:pt modelId="{5368F0B6-81B5-472B-B4ED-50635FEA48F8}">
      <dgm:prSet phldrT="[Texte]" custT="1"/>
      <dgm:spPr/>
      <dgm:t>
        <a:bodyPr/>
        <a:lstStyle/>
        <a:p>
          <a:r>
            <a:rPr lang="fr-FR" sz="1200" dirty="0" smtClean="0"/>
            <a:t>Avoir 75 adhérents en GAM</a:t>
          </a:r>
          <a:endParaRPr lang="fr-FR" sz="1200" dirty="0"/>
        </a:p>
      </dgm:t>
    </dgm:pt>
    <dgm:pt modelId="{4B91024B-95FA-4092-A2EB-F77A1A090DC7}" type="parTrans" cxnId="{558CA36B-6914-4D00-AC4E-E354FC214B64}">
      <dgm:prSet/>
      <dgm:spPr/>
      <dgm:t>
        <a:bodyPr/>
        <a:lstStyle/>
        <a:p>
          <a:endParaRPr lang="fr-FR"/>
        </a:p>
      </dgm:t>
    </dgm:pt>
    <dgm:pt modelId="{235CE731-AB4C-4BAA-9475-5AAC73E123D2}" type="sibTrans" cxnId="{558CA36B-6914-4D00-AC4E-E354FC214B64}">
      <dgm:prSet/>
      <dgm:spPr/>
      <dgm:t>
        <a:bodyPr/>
        <a:lstStyle/>
        <a:p>
          <a:endParaRPr lang="fr-FR"/>
        </a:p>
      </dgm:t>
    </dgm:pt>
    <dgm:pt modelId="{19357915-EF2E-4CF1-8F4A-DBE662A8050D}">
      <dgm:prSet phldrT="[Texte]" custT="1"/>
      <dgm:spPr/>
      <dgm:t>
        <a:bodyPr/>
        <a:lstStyle/>
        <a:p>
          <a:r>
            <a:rPr lang="fr-FR" sz="1200" dirty="0" smtClean="0"/>
            <a:t>Avoir 80 adhérents en GAM</a:t>
          </a:r>
          <a:endParaRPr lang="fr-FR" sz="1200" dirty="0"/>
        </a:p>
      </dgm:t>
    </dgm:pt>
    <dgm:pt modelId="{2E4E0271-0E8D-4097-8C91-ACDA603F455C}" type="parTrans" cxnId="{3E2A7A02-1179-4760-BFD2-CB3A9E30C717}">
      <dgm:prSet/>
      <dgm:spPr/>
      <dgm:t>
        <a:bodyPr/>
        <a:lstStyle/>
        <a:p>
          <a:endParaRPr lang="fr-FR"/>
        </a:p>
      </dgm:t>
    </dgm:pt>
    <dgm:pt modelId="{78AA91B5-57AB-4914-AF25-890BBCCF602C}" type="sibTrans" cxnId="{3E2A7A02-1179-4760-BFD2-CB3A9E30C717}">
      <dgm:prSet/>
      <dgm:spPr/>
      <dgm:t>
        <a:bodyPr/>
        <a:lstStyle/>
        <a:p>
          <a:endParaRPr lang="fr-FR"/>
        </a:p>
      </dgm:t>
    </dgm:pt>
    <dgm:pt modelId="{477E6C18-961B-4B93-95F9-4DCE8252EE2A}">
      <dgm:prSet/>
      <dgm:spPr/>
      <dgm:t>
        <a:bodyPr/>
        <a:lstStyle/>
        <a:p>
          <a:r>
            <a:rPr lang="fr-FR" smtClean="0"/>
            <a:t>Lancer le Baby Gym</a:t>
          </a:r>
          <a:endParaRPr lang="fr-FR" dirty="0"/>
        </a:p>
      </dgm:t>
    </dgm:pt>
    <dgm:pt modelId="{3412693C-D309-474D-9F73-2251462A56AE}" type="parTrans" cxnId="{FEDACEF9-5191-4CA7-897E-28EC865DC37C}">
      <dgm:prSet/>
      <dgm:spPr/>
      <dgm:t>
        <a:bodyPr/>
        <a:lstStyle/>
        <a:p>
          <a:endParaRPr lang="fr-FR"/>
        </a:p>
      </dgm:t>
    </dgm:pt>
    <dgm:pt modelId="{B7AF3F45-BB1B-426F-A96C-A0F53E8C1FB5}" type="sibTrans" cxnId="{FEDACEF9-5191-4CA7-897E-28EC865DC37C}">
      <dgm:prSet/>
      <dgm:spPr/>
      <dgm:t>
        <a:bodyPr/>
        <a:lstStyle/>
        <a:p>
          <a:endParaRPr lang="fr-FR"/>
        </a:p>
      </dgm:t>
    </dgm:pt>
    <dgm:pt modelId="{08F582E9-2DF9-4DE7-93DA-8842DDFAADB9}">
      <dgm:prSet/>
      <dgm:spPr/>
      <dgm:t>
        <a:bodyPr/>
        <a:lstStyle/>
        <a:p>
          <a:r>
            <a:rPr lang="fr-FR" smtClean="0"/>
            <a:t>Améliorer le fonctionnement avec les Bâtelières</a:t>
          </a:r>
          <a:endParaRPr lang="fr-FR" dirty="0"/>
        </a:p>
      </dgm:t>
    </dgm:pt>
    <dgm:pt modelId="{7CB6EDB4-412A-4A57-A4AF-D59EBA44FB0F}" type="parTrans" cxnId="{3BDDAC43-FB47-4D56-8524-569AB1CC3F57}">
      <dgm:prSet/>
      <dgm:spPr/>
      <dgm:t>
        <a:bodyPr/>
        <a:lstStyle/>
        <a:p>
          <a:endParaRPr lang="fr-FR"/>
        </a:p>
      </dgm:t>
    </dgm:pt>
    <dgm:pt modelId="{F6EF3BA2-C88A-4BBA-8D72-DADE7B117CF1}" type="sibTrans" cxnId="{3BDDAC43-FB47-4D56-8524-569AB1CC3F57}">
      <dgm:prSet/>
      <dgm:spPr/>
      <dgm:t>
        <a:bodyPr/>
        <a:lstStyle/>
        <a:p>
          <a:endParaRPr lang="fr-FR"/>
        </a:p>
      </dgm:t>
    </dgm:pt>
    <dgm:pt modelId="{4DECB243-324D-499B-B462-C2FF1E361B3E}">
      <dgm:prSet/>
      <dgm:spPr/>
      <dgm:t>
        <a:bodyPr/>
        <a:lstStyle/>
        <a:p>
          <a:r>
            <a:rPr lang="fr-FR" smtClean="0"/>
            <a:t>Bâtir un plan d’action pour améliorer l’état des tapis</a:t>
          </a:r>
          <a:endParaRPr lang="fr-FR" dirty="0"/>
        </a:p>
      </dgm:t>
    </dgm:pt>
    <dgm:pt modelId="{10B2EE08-C7E7-4E6D-8F6E-518570395A46}" type="parTrans" cxnId="{6AEC0D87-2056-45BB-823F-986778A08C2A}">
      <dgm:prSet/>
      <dgm:spPr/>
      <dgm:t>
        <a:bodyPr/>
        <a:lstStyle/>
        <a:p>
          <a:endParaRPr lang="fr-FR"/>
        </a:p>
      </dgm:t>
    </dgm:pt>
    <dgm:pt modelId="{5F52837F-EF07-4B20-8B39-880D72F4DA7A}" type="sibTrans" cxnId="{6AEC0D87-2056-45BB-823F-986778A08C2A}">
      <dgm:prSet/>
      <dgm:spPr/>
      <dgm:t>
        <a:bodyPr/>
        <a:lstStyle/>
        <a:p>
          <a:endParaRPr lang="fr-FR"/>
        </a:p>
      </dgm:t>
    </dgm:pt>
    <dgm:pt modelId="{C30C94AF-6945-4CDB-8D08-B3E7F71862AA}">
      <dgm:prSet phldrT="[Texte]" custT="1"/>
      <dgm:spPr/>
      <dgm:t>
        <a:bodyPr/>
        <a:lstStyle/>
        <a:p>
          <a:r>
            <a:rPr lang="fr-FR" sz="1200" dirty="0" smtClean="0"/>
            <a:t>Avoir 12 adhérents en Mini Gym</a:t>
          </a:r>
          <a:endParaRPr lang="fr-FR" sz="1200" dirty="0"/>
        </a:p>
      </dgm:t>
    </dgm:pt>
    <dgm:pt modelId="{084543EA-7F5A-4E3F-85B6-D155DC84F420}" type="parTrans" cxnId="{BBCB9DD6-9021-4154-AA9C-86DD8796C567}">
      <dgm:prSet/>
      <dgm:spPr/>
      <dgm:t>
        <a:bodyPr/>
        <a:lstStyle/>
        <a:p>
          <a:endParaRPr lang="fr-FR"/>
        </a:p>
      </dgm:t>
    </dgm:pt>
    <dgm:pt modelId="{A020FC92-8970-4EDC-B6C5-4E9F21392F89}" type="sibTrans" cxnId="{BBCB9DD6-9021-4154-AA9C-86DD8796C567}">
      <dgm:prSet/>
      <dgm:spPr/>
      <dgm:t>
        <a:bodyPr/>
        <a:lstStyle/>
        <a:p>
          <a:endParaRPr lang="fr-FR"/>
        </a:p>
      </dgm:t>
    </dgm:pt>
    <dgm:pt modelId="{BCD750D9-D7B5-41E0-97A4-C2943656EF7D}">
      <dgm:prSet phldrT="[Texte]" custT="1"/>
      <dgm:spPr/>
      <dgm:t>
        <a:bodyPr/>
        <a:lstStyle/>
        <a:p>
          <a:r>
            <a:rPr lang="fr-FR" sz="1200" dirty="0" smtClean="0"/>
            <a:t>Développer les compétitions</a:t>
          </a:r>
          <a:endParaRPr lang="fr-FR" sz="1200" dirty="0"/>
        </a:p>
      </dgm:t>
    </dgm:pt>
    <dgm:pt modelId="{BBE85409-63B4-4EAD-9FBE-41369B4D32AE}" type="parTrans" cxnId="{83866B8F-6DD8-4672-8190-FD1EBB0DFDE7}">
      <dgm:prSet/>
      <dgm:spPr/>
      <dgm:t>
        <a:bodyPr/>
        <a:lstStyle/>
        <a:p>
          <a:endParaRPr lang="fr-FR"/>
        </a:p>
      </dgm:t>
    </dgm:pt>
    <dgm:pt modelId="{FD09A916-C944-4A1E-84FF-86DB7C244E00}" type="sibTrans" cxnId="{83866B8F-6DD8-4672-8190-FD1EBB0DFDE7}">
      <dgm:prSet/>
      <dgm:spPr/>
      <dgm:t>
        <a:bodyPr/>
        <a:lstStyle/>
        <a:p>
          <a:endParaRPr lang="fr-FR"/>
        </a:p>
      </dgm:t>
    </dgm:pt>
    <dgm:pt modelId="{E5E9BCD5-6763-493D-8453-42EFC885A153}">
      <dgm:prSet phldrT="[Texte]" custT="1"/>
      <dgm:spPr/>
      <dgm:t>
        <a:bodyPr/>
        <a:lstStyle/>
        <a:p>
          <a:r>
            <a:rPr lang="fr-FR" sz="1200" dirty="0" smtClean="0"/>
            <a:t>Améliorer les conditions matérielles de pratique </a:t>
          </a:r>
          <a:endParaRPr lang="fr-FR" sz="1200" dirty="0"/>
        </a:p>
      </dgm:t>
    </dgm:pt>
    <dgm:pt modelId="{8C8F6929-B554-491F-8D39-C61FCE1A7200}" type="parTrans" cxnId="{BC41D63E-32DA-4B3F-A62B-777022A33DEE}">
      <dgm:prSet/>
      <dgm:spPr/>
      <dgm:t>
        <a:bodyPr/>
        <a:lstStyle/>
        <a:p>
          <a:endParaRPr lang="fr-FR"/>
        </a:p>
      </dgm:t>
    </dgm:pt>
    <dgm:pt modelId="{597F69C4-484D-4AC1-82E0-9AA3CD8905D3}" type="sibTrans" cxnId="{BC41D63E-32DA-4B3F-A62B-777022A33DEE}">
      <dgm:prSet/>
      <dgm:spPr/>
      <dgm:t>
        <a:bodyPr/>
        <a:lstStyle/>
        <a:p>
          <a:endParaRPr lang="fr-FR"/>
        </a:p>
      </dgm:t>
    </dgm:pt>
    <dgm:pt modelId="{D513BB0B-1930-4F74-BEC8-19124393D23A}">
      <dgm:prSet phldrT="[Texte]" custT="1"/>
      <dgm:spPr/>
      <dgm:t>
        <a:bodyPr/>
        <a:lstStyle/>
        <a:p>
          <a:r>
            <a:rPr lang="fr-FR" sz="1200" dirty="0" smtClean="0"/>
            <a:t>Développer le Mini Gym</a:t>
          </a:r>
          <a:endParaRPr lang="fr-FR" sz="1200" dirty="0"/>
        </a:p>
      </dgm:t>
    </dgm:pt>
    <dgm:pt modelId="{89D152AA-1E3F-4C09-B8C1-44FE33B0E3CA}" type="parTrans" cxnId="{A800CD64-D504-4A56-8D99-4ECBB34C0821}">
      <dgm:prSet/>
      <dgm:spPr/>
      <dgm:t>
        <a:bodyPr/>
        <a:lstStyle/>
        <a:p>
          <a:endParaRPr lang="fr-FR"/>
        </a:p>
      </dgm:t>
    </dgm:pt>
    <dgm:pt modelId="{1A9F0FD3-3A9F-4003-9418-6FA33AB41C48}" type="sibTrans" cxnId="{A800CD64-D504-4A56-8D99-4ECBB34C0821}">
      <dgm:prSet/>
      <dgm:spPr/>
      <dgm:t>
        <a:bodyPr/>
        <a:lstStyle/>
        <a:p>
          <a:endParaRPr lang="fr-FR"/>
        </a:p>
      </dgm:t>
    </dgm:pt>
    <dgm:pt modelId="{9C8C2D06-15EC-42B7-A516-2BE0AE82228C}">
      <dgm:prSet phldrT="[Texte]" custT="1"/>
      <dgm:spPr/>
      <dgm:t>
        <a:bodyPr/>
        <a:lstStyle/>
        <a:p>
          <a:r>
            <a:rPr lang="fr-FR" sz="1200" dirty="0" smtClean="0"/>
            <a:t>Développer les compétitions</a:t>
          </a:r>
          <a:endParaRPr lang="fr-FR" sz="1200" dirty="0"/>
        </a:p>
      </dgm:t>
    </dgm:pt>
    <dgm:pt modelId="{07E50130-6B19-4485-9EF9-2767995CD172}" type="parTrans" cxnId="{26FB3034-2832-4602-88E4-182295A93AB6}">
      <dgm:prSet/>
      <dgm:spPr/>
      <dgm:t>
        <a:bodyPr/>
        <a:lstStyle/>
        <a:p>
          <a:endParaRPr lang="fr-FR"/>
        </a:p>
      </dgm:t>
    </dgm:pt>
    <dgm:pt modelId="{9B1F3AB8-3056-44AF-ABBD-4D82E270846E}" type="sibTrans" cxnId="{26FB3034-2832-4602-88E4-182295A93AB6}">
      <dgm:prSet/>
      <dgm:spPr/>
      <dgm:t>
        <a:bodyPr/>
        <a:lstStyle/>
        <a:p>
          <a:endParaRPr lang="fr-FR"/>
        </a:p>
      </dgm:t>
    </dgm:pt>
    <dgm:pt modelId="{D269C170-AA3D-41CA-8F2B-3ECDADBC428A}">
      <dgm:prSet phldrT="[Texte]" custT="1"/>
      <dgm:spPr/>
      <dgm:t>
        <a:bodyPr/>
        <a:lstStyle/>
        <a:p>
          <a:r>
            <a:rPr lang="fr-FR" sz="1200" dirty="0" smtClean="0"/>
            <a:t>Améliorer les conditions matérielles de pratique </a:t>
          </a:r>
          <a:endParaRPr lang="fr-FR" sz="1200" dirty="0"/>
        </a:p>
      </dgm:t>
    </dgm:pt>
    <dgm:pt modelId="{503DD778-B4F2-4281-B3FA-3DB3E7BF6712}" type="parTrans" cxnId="{36F4373A-2302-4A81-BE76-3064936F922B}">
      <dgm:prSet/>
      <dgm:spPr/>
      <dgm:t>
        <a:bodyPr/>
        <a:lstStyle/>
        <a:p>
          <a:endParaRPr lang="fr-FR"/>
        </a:p>
      </dgm:t>
    </dgm:pt>
    <dgm:pt modelId="{DF738619-2424-4ABE-88E5-E39710EC477B}" type="sibTrans" cxnId="{36F4373A-2302-4A81-BE76-3064936F922B}">
      <dgm:prSet/>
      <dgm:spPr/>
      <dgm:t>
        <a:bodyPr/>
        <a:lstStyle/>
        <a:p>
          <a:endParaRPr lang="fr-FR"/>
        </a:p>
      </dgm:t>
    </dgm:pt>
    <dgm:pt modelId="{F7F8EFB1-E37C-4557-84E9-AA6FBE1272F4}" type="pres">
      <dgm:prSet presAssocID="{B81EF0BA-FD53-4214-85B2-9FFCBB0F44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29E2440-7066-488A-B979-955B7AE3D9BA}" type="pres">
      <dgm:prSet presAssocID="{B81EF0BA-FD53-4214-85B2-9FFCBB0F4431}" presName="tSp" presStyleCnt="0"/>
      <dgm:spPr/>
    </dgm:pt>
    <dgm:pt modelId="{5FFD72D9-F02B-4BBF-87BC-BDDE1F53C9A2}" type="pres">
      <dgm:prSet presAssocID="{B81EF0BA-FD53-4214-85B2-9FFCBB0F4431}" presName="bSp" presStyleCnt="0"/>
      <dgm:spPr/>
    </dgm:pt>
    <dgm:pt modelId="{92D5FD64-36AC-4314-B13B-A48D548B7D40}" type="pres">
      <dgm:prSet presAssocID="{B81EF0BA-FD53-4214-85B2-9FFCBB0F4431}" presName="process" presStyleCnt="0"/>
      <dgm:spPr/>
    </dgm:pt>
    <dgm:pt modelId="{DDF9BA0A-B11B-4000-9103-DD50CA3AB9BB}" type="pres">
      <dgm:prSet presAssocID="{F39FBA36-9284-4D5C-BC0F-672728ABFF4D}" presName="composite1" presStyleCnt="0"/>
      <dgm:spPr/>
    </dgm:pt>
    <dgm:pt modelId="{430F6910-59C8-49A0-9F8A-395CA6C8E1EA}" type="pres">
      <dgm:prSet presAssocID="{F39FBA36-9284-4D5C-BC0F-672728ABFF4D}" presName="dummyNode1" presStyleLbl="node1" presStyleIdx="0" presStyleCnt="3"/>
      <dgm:spPr/>
    </dgm:pt>
    <dgm:pt modelId="{A57C8658-965B-4A02-AC2B-436CB5AEBFE8}" type="pres">
      <dgm:prSet presAssocID="{F39FBA36-9284-4D5C-BC0F-672728ABFF4D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6C3BA83-FFEE-4478-B59A-7825B87CB656}" type="pres">
      <dgm:prSet presAssocID="{F39FBA36-9284-4D5C-BC0F-672728ABFF4D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361F2B5-F566-4C4F-8CF9-9FF861B97A95}" type="pres">
      <dgm:prSet presAssocID="{F39FBA36-9284-4D5C-BC0F-672728ABFF4D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1227EC-CF56-4A9D-B53B-D51884D5986D}" type="pres">
      <dgm:prSet presAssocID="{F39FBA36-9284-4D5C-BC0F-672728ABFF4D}" presName="connSite1" presStyleCnt="0"/>
      <dgm:spPr/>
    </dgm:pt>
    <dgm:pt modelId="{DB88FCF4-2DE1-42FF-8E51-C3AE2D2595D3}" type="pres">
      <dgm:prSet presAssocID="{2F369554-C9BB-4DBA-9502-45A313151362}" presName="Name9" presStyleLbl="sibTrans2D1" presStyleIdx="0" presStyleCnt="2"/>
      <dgm:spPr/>
      <dgm:t>
        <a:bodyPr/>
        <a:lstStyle/>
        <a:p>
          <a:endParaRPr lang="fr-FR"/>
        </a:p>
      </dgm:t>
    </dgm:pt>
    <dgm:pt modelId="{D66E0934-1B9E-4BF1-86C6-40DBA8352447}" type="pres">
      <dgm:prSet presAssocID="{470450E9-0ACB-4FF1-AD2D-4673114CE135}" presName="composite2" presStyleCnt="0"/>
      <dgm:spPr/>
    </dgm:pt>
    <dgm:pt modelId="{FE7A6275-2276-4A81-AC6B-75515725E810}" type="pres">
      <dgm:prSet presAssocID="{470450E9-0ACB-4FF1-AD2D-4673114CE135}" presName="dummyNode2" presStyleLbl="node1" presStyleIdx="0" presStyleCnt="3"/>
      <dgm:spPr/>
    </dgm:pt>
    <dgm:pt modelId="{6C45F5F4-F913-4DEB-9F3D-F01F1E4CF6C6}" type="pres">
      <dgm:prSet presAssocID="{470450E9-0ACB-4FF1-AD2D-4673114CE135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3429F44-1CD8-4A8A-B21B-DE06DDDD4039}" type="pres">
      <dgm:prSet presAssocID="{470450E9-0ACB-4FF1-AD2D-4673114CE135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390BC2B-021E-4A02-ABE0-E8EFAA6BA3A4}" type="pres">
      <dgm:prSet presAssocID="{470450E9-0ACB-4FF1-AD2D-4673114CE135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2A5AF6-0121-445B-8E03-E00BCEBAE437}" type="pres">
      <dgm:prSet presAssocID="{470450E9-0ACB-4FF1-AD2D-4673114CE135}" presName="connSite2" presStyleCnt="0"/>
      <dgm:spPr/>
    </dgm:pt>
    <dgm:pt modelId="{46147BC4-DA08-43C4-87F3-5A2B7FA1D0DB}" type="pres">
      <dgm:prSet presAssocID="{E30F7CEB-7DBC-45C1-AAF8-9715EB40D96D}" presName="Name18" presStyleLbl="sibTrans2D1" presStyleIdx="1" presStyleCnt="2"/>
      <dgm:spPr/>
      <dgm:t>
        <a:bodyPr/>
        <a:lstStyle/>
        <a:p>
          <a:endParaRPr lang="fr-FR"/>
        </a:p>
      </dgm:t>
    </dgm:pt>
    <dgm:pt modelId="{37344B64-7500-4585-9D72-7FAEAFA5D38D}" type="pres">
      <dgm:prSet presAssocID="{ED54A4DA-30EE-4633-81E2-017472899CE8}" presName="composite1" presStyleCnt="0"/>
      <dgm:spPr/>
    </dgm:pt>
    <dgm:pt modelId="{3B5EC442-8603-4C80-AF8E-9FB65733359F}" type="pres">
      <dgm:prSet presAssocID="{ED54A4DA-30EE-4633-81E2-017472899CE8}" presName="dummyNode1" presStyleLbl="node1" presStyleIdx="1" presStyleCnt="3"/>
      <dgm:spPr/>
    </dgm:pt>
    <dgm:pt modelId="{7A111A14-D86D-4368-B1A3-B017CE774ECD}" type="pres">
      <dgm:prSet presAssocID="{ED54A4DA-30EE-4633-81E2-017472899CE8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0A9E55-E6F0-47DB-9C40-F385670FF0AE}" type="pres">
      <dgm:prSet presAssocID="{ED54A4DA-30EE-4633-81E2-017472899CE8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D5AED7-2AB2-446B-A3D4-454736791E8C}" type="pres">
      <dgm:prSet presAssocID="{ED54A4DA-30EE-4633-81E2-017472899CE8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D3413A-AC06-4A7D-94C6-132513819055}" type="pres">
      <dgm:prSet presAssocID="{ED54A4DA-30EE-4633-81E2-017472899CE8}" presName="connSite1" presStyleCnt="0"/>
      <dgm:spPr/>
    </dgm:pt>
  </dgm:ptLst>
  <dgm:cxnLst>
    <dgm:cxn modelId="{C3869FEC-4A57-45F7-B2D7-53875A05A582}" type="presOf" srcId="{477E6C18-961B-4B93-95F9-4DCE8252EE2A}" destId="{A57C8658-965B-4A02-AC2B-436CB5AEBFE8}" srcOrd="0" destOrd="1" presId="urn:microsoft.com/office/officeart/2005/8/layout/hProcess4"/>
    <dgm:cxn modelId="{639EE83B-43E8-4CBE-A988-7A00CB39FA0F}" type="presOf" srcId="{08F582E9-2DF9-4DE7-93DA-8842DDFAADB9}" destId="{26C3BA83-FFEE-4478-B59A-7825B87CB656}" srcOrd="1" destOrd="2" presId="urn:microsoft.com/office/officeart/2005/8/layout/hProcess4"/>
    <dgm:cxn modelId="{0EAD8C65-817F-4574-8EF2-C40F695ADA7D}" type="presOf" srcId="{9C8C2D06-15EC-42B7-A516-2BE0AE82228C}" destId="{6B0A9E55-E6F0-47DB-9C40-F385670FF0AE}" srcOrd="1" destOrd="2" presId="urn:microsoft.com/office/officeart/2005/8/layout/hProcess4"/>
    <dgm:cxn modelId="{1488BCE5-B8B1-4142-B2A2-AC6F4A376C4C}" type="presOf" srcId="{9C8C2D06-15EC-42B7-A516-2BE0AE82228C}" destId="{7A111A14-D86D-4368-B1A3-B017CE774ECD}" srcOrd="0" destOrd="2" presId="urn:microsoft.com/office/officeart/2005/8/layout/hProcess4"/>
    <dgm:cxn modelId="{D0CD3481-C33F-4C14-9A5A-27D2446522BC}" srcId="{B81EF0BA-FD53-4214-85B2-9FFCBB0F4431}" destId="{ED54A4DA-30EE-4633-81E2-017472899CE8}" srcOrd="2" destOrd="0" parTransId="{3AA76E0B-F200-4B70-86A7-8C1F04E6C01F}" sibTransId="{462FE2DE-381E-42E1-B377-1930168B9B4F}"/>
    <dgm:cxn modelId="{A56EC24E-E0F6-4838-81F3-8A103FEFD4D0}" type="presOf" srcId="{D269C170-AA3D-41CA-8F2B-3ECDADBC428A}" destId="{6B0A9E55-E6F0-47DB-9C40-F385670FF0AE}" srcOrd="1" destOrd="3" presId="urn:microsoft.com/office/officeart/2005/8/layout/hProcess4"/>
    <dgm:cxn modelId="{5D839A47-563D-4657-B655-15E677A3204E}" srcId="{B81EF0BA-FD53-4214-85B2-9FFCBB0F4431}" destId="{470450E9-0ACB-4FF1-AD2D-4673114CE135}" srcOrd="1" destOrd="0" parTransId="{7C20824D-E043-42A9-87AE-4D561F88CE3D}" sibTransId="{E30F7CEB-7DBC-45C1-AAF8-9715EB40D96D}"/>
    <dgm:cxn modelId="{8BC8B6F4-3D40-41BE-9F33-D9E10B161D9B}" type="presOf" srcId="{D269C170-AA3D-41CA-8F2B-3ECDADBC428A}" destId="{7A111A14-D86D-4368-B1A3-B017CE774ECD}" srcOrd="0" destOrd="3" presId="urn:microsoft.com/office/officeart/2005/8/layout/hProcess4"/>
    <dgm:cxn modelId="{8DA7B4D7-FA2D-483A-9EA5-9025D145495E}" type="presOf" srcId="{5368F0B6-81B5-472B-B4ED-50635FEA48F8}" destId="{C3429F44-1CD8-4A8A-B21B-DE06DDDD4039}" srcOrd="1" destOrd="0" presId="urn:microsoft.com/office/officeart/2005/8/layout/hProcess4"/>
    <dgm:cxn modelId="{1119C2B4-6FDB-4D4D-91F2-75327E150313}" type="presOf" srcId="{B81EF0BA-FD53-4214-85B2-9FFCBB0F4431}" destId="{F7F8EFB1-E37C-4557-84E9-AA6FBE1272F4}" srcOrd="0" destOrd="0" presId="urn:microsoft.com/office/officeart/2005/8/layout/hProcess4"/>
    <dgm:cxn modelId="{22875948-C914-4EC0-8A65-3494631F539F}" type="presOf" srcId="{E30F7CEB-7DBC-45C1-AAF8-9715EB40D96D}" destId="{46147BC4-DA08-43C4-87F3-5A2B7FA1D0DB}" srcOrd="0" destOrd="0" presId="urn:microsoft.com/office/officeart/2005/8/layout/hProcess4"/>
    <dgm:cxn modelId="{B8C1254D-9622-4848-AB3C-27EFE3A9DBB7}" type="presOf" srcId="{5368F0B6-81B5-472B-B4ED-50635FEA48F8}" destId="{6C45F5F4-F913-4DEB-9F3D-F01F1E4CF6C6}" srcOrd="0" destOrd="0" presId="urn:microsoft.com/office/officeart/2005/8/layout/hProcess4"/>
    <dgm:cxn modelId="{632F77BA-AA56-416B-9526-4B310576D2C2}" type="presOf" srcId="{E5E9BCD5-6763-493D-8453-42EFC885A153}" destId="{6C45F5F4-F913-4DEB-9F3D-F01F1E4CF6C6}" srcOrd="0" destOrd="3" presId="urn:microsoft.com/office/officeart/2005/8/layout/hProcess4"/>
    <dgm:cxn modelId="{558CA36B-6914-4D00-AC4E-E354FC214B64}" srcId="{470450E9-0ACB-4FF1-AD2D-4673114CE135}" destId="{5368F0B6-81B5-472B-B4ED-50635FEA48F8}" srcOrd="0" destOrd="0" parTransId="{4B91024B-95FA-4092-A2EB-F77A1A090DC7}" sibTransId="{235CE731-AB4C-4BAA-9475-5AAC73E123D2}"/>
    <dgm:cxn modelId="{268492D8-B7BB-4F2F-A502-667CC88EA30E}" type="presOf" srcId="{4DECB243-324D-499B-B462-C2FF1E361B3E}" destId="{26C3BA83-FFEE-4478-B59A-7825B87CB656}" srcOrd="1" destOrd="3" presId="urn:microsoft.com/office/officeart/2005/8/layout/hProcess4"/>
    <dgm:cxn modelId="{3E2A7A02-1179-4760-BFD2-CB3A9E30C717}" srcId="{ED54A4DA-30EE-4633-81E2-017472899CE8}" destId="{19357915-EF2E-4CF1-8F4A-DBE662A8050D}" srcOrd="0" destOrd="0" parTransId="{2E4E0271-0E8D-4097-8C91-ACDA603F455C}" sibTransId="{78AA91B5-57AB-4914-AF25-890BBCCF602C}"/>
    <dgm:cxn modelId="{D920A4A6-BA06-499B-A719-BB98C73184E8}" type="presOf" srcId="{19357915-EF2E-4CF1-8F4A-DBE662A8050D}" destId="{6B0A9E55-E6F0-47DB-9C40-F385670FF0AE}" srcOrd="1" destOrd="0" presId="urn:microsoft.com/office/officeart/2005/8/layout/hProcess4"/>
    <dgm:cxn modelId="{A8106675-437A-4E1B-9AA4-B3732DE7EC40}" type="presOf" srcId="{C30C94AF-6945-4CDB-8D08-B3E7F71862AA}" destId="{C3429F44-1CD8-4A8A-B21B-DE06DDDD4039}" srcOrd="1" destOrd="1" presId="urn:microsoft.com/office/officeart/2005/8/layout/hProcess4"/>
    <dgm:cxn modelId="{90C251E5-7114-4A70-81F0-5E91426DE0DE}" type="presOf" srcId="{470450E9-0ACB-4FF1-AD2D-4673114CE135}" destId="{6390BC2B-021E-4A02-ABE0-E8EFAA6BA3A4}" srcOrd="0" destOrd="0" presId="urn:microsoft.com/office/officeart/2005/8/layout/hProcess4"/>
    <dgm:cxn modelId="{36F4373A-2302-4A81-BE76-3064936F922B}" srcId="{ED54A4DA-30EE-4633-81E2-017472899CE8}" destId="{D269C170-AA3D-41CA-8F2B-3ECDADBC428A}" srcOrd="3" destOrd="0" parTransId="{503DD778-B4F2-4281-B3FA-3DB3E7BF6712}" sibTransId="{DF738619-2424-4ABE-88E5-E39710EC477B}"/>
    <dgm:cxn modelId="{26FB3034-2832-4602-88E4-182295A93AB6}" srcId="{ED54A4DA-30EE-4633-81E2-017472899CE8}" destId="{9C8C2D06-15EC-42B7-A516-2BE0AE82228C}" srcOrd="2" destOrd="0" parTransId="{07E50130-6B19-4485-9EF9-2767995CD172}" sibTransId="{9B1F3AB8-3056-44AF-ABBD-4D82E270846E}"/>
    <dgm:cxn modelId="{31CEEAC8-0CE1-430C-888B-EF1FBC4C92B1}" type="presOf" srcId="{C30C94AF-6945-4CDB-8D08-B3E7F71862AA}" destId="{6C45F5F4-F913-4DEB-9F3D-F01F1E4CF6C6}" srcOrd="0" destOrd="1" presId="urn:microsoft.com/office/officeart/2005/8/layout/hProcess4"/>
    <dgm:cxn modelId="{6AEC0D87-2056-45BB-823F-986778A08C2A}" srcId="{F39FBA36-9284-4D5C-BC0F-672728ABFF4D}" destId="{4DECB243-324D-499B-B462-C2FF1E361B3E}" srcOrd="3" destOrd="0" parTransId="{10B2EE08-C7E7-4E6D-8F6E-518570395A46}" sibTransId="{5F52837F-EF07-4B20-8B39-880D72F4DA7A}"/>
    <dgm:cxn modelId="{8886AB0E-E9C1-4ACC-9E22-8661535D31E1}" type="presOf" srcId="{E5E9BCD5-6763-493D-8453-42EFC885A153}" destId="{C3429F44-1CD8-4A8A-B21B-DE06DDDD4039}" srcOrd="1" destOrd="3" presId="urn:microsoft.com/office/officeart/2005/8/layout/hProcess4"/>
    <dgm:cxn modelId="{4E83FCAD-4C2E-4A4F-A148-244C09CFDE38}" type="presOf" srcId="{D513BB0B-1930-4F74-BEC8-19124393D23A}" destId="{7A111A14-D86D-4368-B1A3-B017CE774ECD}" srcOrd="0" destOrd="1" presId="urn:microsoft.com/office/officeart/2005/8/layout/hProcess4"/>
    <dgm:cxn modelId="{FCD657C1-4919-44FF-B34A-E1296B98C497}" type="presOf" srcId="{F39FBA36-9284-4D5C-BC0F-672728ABFF4D}" destId="{E361F2B5-F566-4C4F-8CF9-9FF861B97A95}" srcOrd="0" destOrd="0" presId="urn:microsoft.com/office/officeart/2005/8/layout/hProcess4"/>
    <dgm:cxn modelId="{29D7F575-A8AF-4EB5-BAF8-EE211D4771AC}" type="presOf" srcId="{ED54A4DA-30EE-4633-81E2-017472899CE8}" destId="{6ED5AED7-2AB2-446B-A3D4-454736791E8C}" srcOrd="0" destOrd="0" presId="urn:microsoft.com/office/officeart/2005/8/layout/hProcess4"/>
    <dgm:cxn modelId="{03D9EB02-CDE1-4A50-8C18-F996C8C5FDBB}" type="presOf" srcId="{B35A75BD-4FCE-4F8E-9D3B-9F4197BC7D84}" destId="{A57C8658-965B-4A02-AC2B-436CB5AEBFE8}" srcOrd="0" destOrd="0" presId="urn:microsoft.com/office/officeart/2005/8/layout/hProcess4"/>
    <dgm:cxn modelId="{705703FD-3490-4D22-9013-87ABB203E5E6}" type="presOf" srcId="{B35A75BD-4FCE-4F8E-9D3B-9F4197BC7D84}" destId="{26C3BA83-FFEE-4478-B59A-7825B87CB656}" srcOrd="1" destOrd="0" presId="urn:microsoft.com/office/officeart/2005/8/layout/hProcess4"/>
    <dgm:cxn modelId="{3BDDAC43-FB47-4D56-8524-569AB1CC3F57}" srcId="{F39FBA36-9284-4D5C-BC0F-672728ABFF4D}" destId="{08F582E9-2DF9-4DE7-93DA-8842DDFAADB9}" srcOrd="2" destOrd="0" parTransId="{7CB6EDB4-412A-4A57-A4AF-D59EBA44FB0F}" sibTransId="{F6EF3BA2-C88A-4BBA-8D72-DADE7B117CF1}"/>
    <dgm:cxn modelId="{593264E5-DA28-43D0-B233-F977325E00D5}" type="presOf" srcId="{BCD750D9-D7B5-41E0-97A4-C2943656EF7D}" destId="{C3429F44-1CD8-4A8A-B21B-DE06DDDD4039}" srcOrd="1" destOrd="2" presId="urn:microsoft.com/office/officeart/2005/8/layout/hProcess4"/>
    <dgm:cxn modelId="{83866B8F-6DD8-4672-8190-FD1EBB0DFDE7}" srcId="{470450E9-0ACB-4FF1-AD2D-4673114CE135}" destId="{BCD750D9-D7B5-41E0-97A4-C2943656EF7D}" srcOrd="2" destOrd="0" parTransId="{BBE85409-63B4-4EAD-9FBE-41369B4D32AE}" sibTransId="{FD09A916-C944-4A1E-84FF-86DB7C244E00}"/>
    <dgm:cxn modelId="{E7FDEE14-02FC-4F8C-81CA-641DB1BC4DFB}" type="presOf" srcId="{D513BB0B-1930-4F74-BEC8-19124393D23A}" destId="{6B0A9E55-E6F0-47DB-9C40-F385670FF0AE}" srcOrd="1" destOrd="1" presId="urn:microsoft.com/office/officeart/2005/8/layout/hProcess4"/>
    <dgm:cxn modelId="{2FB6F3E8-7E80-499D-86B6-A4597EE40263}" type="presOf" srcId="{477E6C18-961B-4B93-95F9-4DCE8252EE2A}" destId="{26C3BA83-FFEE-4478-B59A-7825B87CB656}" srcOrd="1" destOrd="1" presId="urn:microsoft.com/office/officeart/2005/8/layout/hProcess4"/>
    <dgm:cxn modelId="{BB8D550C-7097-4CC5-8906-379F46705784}" type="presOf" srcId="{BCD750D9-D7B5-41E0-97A4-C2943656EF7D}" destId="{6C45F5F4-F913-4DEB-9F3D-F01F1E4CF6C6}" srcOrd="0" destOrd="2" presId="urn:microsoft.com/office/officeart/2005/8/layout/hProcess4"/>
    <dgm:cxn modelId="{AA2530B6-AD8B-47E8-858C-B6D3CF0CFC0B}" type="presOf" srcId="{08F582E9-2DF9-4DE7-93DA-8842DDFAADB9}" destId="{A57C8658-965B-4A02-AC2B-436CB5AEBFE8}" srcOrd="0" destOrd="2" presId="urn:microsoft.com/office/officeart/2005/8/layout/hProcess4"/>
    <dgm:cxn modelId="{A800CD64-D504-4A56-8D99-4ECBB34C0821}" srcId="{ED54A4DA-30EE-4633-81E2-017472899CE8}" destId="{D513BB0B-1930-4F74-BEC8-19124393D23A}" srcOrd="1" destOrd="0" parTransId="{89D152AA-1E3F-4C09-B8C1-44FE33B0E3CA}" sibTransId="{1A9F0FD3-3A9F-4003-9418-6FA33AB41C48}"/>
    <dgm:cxn modelId="{FEDACEF9-5191-4CA7-897E-28EC865DC37C}" srcId="{F39FBA36-9284-4D5C-BC0F-672728ABFF4D}" destId="{477E6C18-961B-4B93-95F9-4DCE8252EE2A}" srcOrd="1" destOrd="0" parTransId="{3412693C-D309-474D-9F73-2251462A56AE}" sibTransId="{B7AF3F45-BB1B-426F-A96C-A0F53E8C1FB5}"/>
    <dgm:cxn modelId="{195D308D-1763-4295-8CC7-127F7E7871B8}" type="presOf" srcId="{4DECB243-324D-499B-B462-C2FF1E361B3E}" destId="{A57C8658-965B-4A02-AC2B-436CB5AEBFE8}" srcOrd="0" destOrd="3" presId="urn:microsoft.com/office/officeart/2005/8/layout/hProcess4"/>
    <dgm:cxn modelId="{1BACE9D3-5608-458C-A684-76F56D3AD1C8}" type="presOf" srcId="{19357915-EF2E-4CF1-8F4A-DBE662A8050D}" destId="{7A111A14-D86D-4368-B1A3-B017CE774ECD}" srcOrd="0" destOrd="0" presId="urn:microsoft.com/office/officeart/2005/8/layout/hProcess4"/>
    <dgm:cxn modelId="{844FB0EC-C5B9-4051-B000-86B1ADC22F44}" srcId="{B81EF0BA-FD53-4214-85B2-9FFCBB0F4431}" destId="{F39FBA36-9284-4D5C-BC0F-672728ABFF4D}" srcOrd="0" destOrd="0" parTransId="{45DC417E-4EFD-4139-BF09-9F19D9CF0B72}" sibTransId="{2F369554-C9BB-4DBA-9502-45A313151362}"/>
    <dgm:cxn modelId="{7F30DC0E-E46A-43FB-99AD-23B9172F123C}" type="presOf" srcId="{2F369554-C9BB-4DBA-9502-45A313151362}" destId="{DB88FCF4-2DE1-42FF-8E51-C3AE2D2595D3}" srcOrd="0" destOrd="0" presId="urn:microsoft.com/office/officeart/2005/8/layout/hProcess4"/>
    <dgm:cxn modelId="{BBCB9DD6-9021-4154-AA9C-86DD8796C567}" srcId="{470450E9-0ACB-4FF1-AD2D-4673114CE135}" destId="{C30C94AF-6945-4CDB-8D08-B3E7F71862AA}" srcOrd="1" destOrd="0" parTransId="{084543EA-7F5A-4E3F-85B6-D155DC84F420}" sibTransId="{A020FC92-8970-4EDC-B6C5-4E9F21392F89}"/>
    <dgm:cxn modelId="{BC41D63E-32DA-4B3F-A62B-777022A33DEE}" srcId="{470450E9-0ACB-4FF1-AD2D-4673114CE135}" destId="{E5E9BCD5-6763-493D-8453-42EFC885A153}" srcOrd="3" destOrd="0" parTransId="{8C8F6929-B554-491F-8D39-C61FCE1A7200}" sibTransId="{597F69C4-484D-4AC1-82E0-9AA3CD8905D3}"/>
    <dgm:cxn modelId="{A7D5737E-5385-4F9D-9325-0AD8C617BEF0}" srcId="{F39FBA36-9284-4D5C-BC0F-672728ABFF4D}" destId="{B35A75BD-4FCE-4F8E-9D3B-9F4197BC7D84}" srcOrd="0" destOrd="0" parTransId="{2C271F12-DD49-4AE0-BC11-B6A06558CFFE}" sibTransId="{0E0E8084-84E2-4286-8124-302E3FB8FEF4}"/>
    <dgm:cxn modelId="{4BB19F6F-D07F-4288-917B-07E2BA2D1A31}" type="presParOf" srcId="{F7F8EFB1-E37C-4557-84E9-AA6FBE1272F4}" destId="{929E2440-7066-488A-B979-955B7AE3D9BA}" srcOrd="0" destOrd="0" presId="urn:microsoft.com/office/officeart/2005/8/layout/hProcess4"/>
    <dgm:cxn modelId="{FCEC3CD8-4236-4EED-A825-9E1CDAF2BDE9}" type="presParOf" srcId="{F7F8EFB1-E37C-4557-84E9-AA6FBE1272F4}" destId="{5FFD72D9-F02B-4BBF-87BC-BDDE1F53C9A2}" srcOrd="1" destOrd="0" presId="urn:microsoft.com/office/officeart/2005/8/layout/hProcess4"/>
    <dgm:cxn modelId="{50F9839F-9AD7-403B-A811-BB14263AC34C}" type="presParOf" srcId="{F7F8EFB1-E37C-4557-84E9-AA6FBE1272F4}" destId="{92D5FD64-36AC-4314-B13B-A48D548B7D40}" srcOrd="2" destOrd="0" presId="urn:microsoft.com/office/officeart/2005/8/layout/hProcess4"/>
    <dgm:cxn modelId="{19E9800C-09F4-4766-9FE7-E7ABFE109CB1}" type="presParOf" srcId="{92D5FD64-36AC-4314-B13B-A48D548B7D40}" destId="{DDF9BA0A-B11B-4000-9103-DD50CA3AB9BB}" srcOrd="0" destOrd="0" presId="urn:microsoft.com/office/officeart/2005/8/layout/hProcess4"/>
    <dgm:cxn modelId="{B6FA6485-0A6E-4B64-8682-FA11588272DA}" type="presParOf" srcId="{DDF9BA0A-B11B-4000-9103-DD50CA3AB9BB}" destId="{430F6910-59C8-49A0-9F8A-395CA6C8E1EA}" srcOrd="0" destOrd="0" presId="urn:microsoft.com/office/officeart/2005/8/layout/hProcess4"/>
    <dgm:cxn modelId="{EDFC3806-FA77-4B19-9B03-41C2F7FA4FDF}" type="presParOf" srcId="{DDF9BA0A-B11B-4000-9103-DD50CA3AB9BB}" destId="{A57C8658-965B-4A02-AC2B-436CB5AEBFE8}" srcOrd="1" destOrd="0" presId="urn:microsoft.com/office/officeart/2005/8/layout/hProcess4"/>
    <dgm:cxn modelId="{3BBBBA84-CEF3-48A4-838D-D35F1FBE3428}" type="presParOf" srcId="{DDF9BA0A-B11B-4000-9103-DD50CA3AB9BB}" destId="{26C3BA83-FFEE-4478-B59A-7825B87CB656}" srcOrd="2" destOrd="0" presId="urn:microsoft.com/office/officeart/2005/8/layout/hProcess4"/>
    <dgm:cxn modelId="{63A52FD3-70D6-4A9A-B68A-3C89B8458054}" type="presParOf" srcId="{DDF9BA0A-B11B-4000-9103-DD50CA3AB9BB}" destId="{E361F2B5-F566-4C4F-8CF9-9FF861B97A95}" srcOrd="3" destOrd="0" presId="urn:microsoft.com/office/officeart/2005/8/layout/hProcess4"/>
    <dgm:cxn modelId="{DED630BE-A5F8-4226-8356-5AE2DAC5D9D9}" type="presParOf" srcId="{DDF9BA0A-B11B-4000-9103-DD50CA3AB9BB}" destId="{CE1227EC-CF56-4A9D-B53B-D51884D5986D}" srcOrd="4" destOrd="0" presId="urn:microsoft.com/office/officeart/2005/8/layout/hProcess4"/>
    <dgm:cxn modelId="{8F2469F1-9058-458C-AD10-97A3EDF8E8ED}" type="presParOf" srcId="{92D5FD64-36AC-4314-B13B-A48D548B7D40}" destId="{DB88FCF4-2DE1-42FF-8E51-C3AE2D2595D3}" srcOrd="1" destOrd="0" presId="urn:microsoft.com/office/officeart/2005/8/layout/hProcess4"/>
    <dgm:cxn modelId="{92A11323-9045-4D86-AE3C-5745305C3B75}" type="presParOf" srcId="{92D5FD64-36AC-4314-B13B-A48D548B7D40}" destId="{D66E0934-1B9E-4BF1-86C6-40DBA8352447}" srcOrd="2" destOrd="0" presId="urn:microsoft.com/office/officeart/2005/8/layout/hProcess4"/>
    <dgm:cxn modelId="{AEBA2D47-B8CC-433C-A226-A6EBB7ED6114}" type="presParOf" srcId="{D66E0934-1B9E-4BF1-86C6-40DBA8352447}" destId="{FE7A6275-2276-4A81-AC6B-75515725E810}" srcOrd="0" destOrd="0" presId="urn:microsoft.com/office/officeart/2005/8/layout/hProcess4"/>
    <dgm:cxn modelId="{584CDAE2-7916-446B-A71D-7B0730627464}" type="presParOf" srcId="{D66E0934-1B9E-4BF1-86C6-40DBA8352447}" destId="{6C45F5F4-F913-4DEB-9F3D-F01F1E4CF6C6}" srcOrd="1" destOrd="0" presId="urn:microsoft.com/office/officeart/2005/8/layout/hProcess4"/>
    <dgm:cxn modelId="{7FC34A9E-9B67-4045-B333-E3FBDF654DF9}" type="presParOf" srcId="{D66E0934-1B9E-4BF1-86C6-40DBA8352447}" destId="{C3429F44-1CD8-4A8A-B21B-DE06DDDD4039}" srcOrd="2" destOrd="0" presId="urn:microsoft.com/office/officeart/2005/8/layout/hProcess4"/>
    <dgm:cxn modelId="{23EC2615-8BBD-41B8-8E48-006CAB845429}" type="presParOf" srcId="{D66E0934-1B9E-4BF1-86C6-40DBA8352447}" destId="{6390BC2B-021E-4A02-ABE0-E8EFAA6BA3A4}" srcOrd="3" destOrd="0" presId="urn:microsoft.com/office/officeart/2005/8/layout/hProcess4"/>
    <dgm:cxn modelId="{279D31F8-37E5-46B5-A576-A62AE5E6A45D}" type="presParOf" srcId="{D66E0934-1B9E-4BF1-86C6-40DBA8352447}" destId="{772A5AF6-0121-445B-8E03-E00BCEBAE437}" srcOrd="4" destOrd="0" presId="urn:microsoft.com/office/officeart/2005/8/layout/hProcess4"/>
    <dgm:cxn modelId="{B6FB7C32-F5EC-4C52-8042-6576CE1817EE}" type="presParOf" srcId="{92D5FD64-36AC-4314-B13B-A48D548B7D40}" destId="{46147BC4-DA08-43C4-87F3-5A2B7FA1D0DB}" srcOrd="3" destOrd="0" presId="urn:microsoft.com/office/officeart/2005/8/layout/hProcess4"/>
    <dgm:cxn modelId="{A0EE78B8-9A80-4B0F-975F-18807919A3AE}" type="presParOf" srcId="{92D5FD64-36AC-4314-B13B-A48D548B7D40}" destId="{37344B64-7500-4585-9D72-7FAEAFA5D38D}" srcOrd="4" destOrd="0" presId="urn:microsoft.com/office/officeart/2005/8/layout/hProcess4"/>
    <dgm:cxn modelId="{90AABAAD-D69F-4084-B682-9448D817DF1B}" type="presParOf" srcId="{37344B64-7500-4585-9D72-7FAEAFA5D38D}" destId="{3B5EC442-8603-4C80-AF8E-9FB65733359F}" srcOrd="0" destOrd="0" presId="urn:microsoft.com/office/officeart/2005/8/layout/hProcess4"/>
    <dgm:cxn modelId="{E51B970E-A756-4BC1-9794-222D1129D386}" type="presParOf" srcId="{37344B64-7500-4585-9D72-7FAEAFA5D38D}" destId="{7A111A14-D86D-4368-B1A3-B017CE774ECD}" srcOrd="1" destOrd="0" presId="urn:microsoft.com/office/officeart/2005/8/layout/hProcess4"/>
    <dgm:cxn modelId="{8596E52F-83BA-41D2-87D8-AFBB79523852}" type="presParOf" srcId="{37344B64-7500-4585-9D72-7FAEAFA5D38D}" destId="{6B0A9E55-E6F0-47DB-9C40-F385670FF0AE}" srcOrd="2" destOrd="0" presId="urn:microsoft.com/office/officeart/2005/8/layout/hProcess4"/>
    <dgm:cxn modelId="{E3E361DA-1450-43ED-9328-33100EDFE446}" type="presParOf" srcId="{37344B64-7500-4585-9D72-7FAEAFA5D38D}" destId="{6ED5AED7-2AB2-446B-A3D4-454736791E8C}" srcOrd="3" destOrd="0" presId="urn:microsoft.com/office/officeart/2005/8/layout/hProcess4"/>
    <dgm:cxn modelId="{B96EB697-E49E-4F3A-B240-6573E57917A3}" type="presParOf" srcId="{37344B64-7500-4585-9D72-7FAEAFA5D38D}" destId="{2ED3413A-AC06-4A7D-94C6-132513819055}" srcOrd="4" destOrd="0" presId="urn:microsoft.com/office/officeart/2005/8/layout/hProcess4"/>
  </dgm:cxnLst>
  <dgm:bg/>
  <dgm:whole/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: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dirty="0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dirty="0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dirty="0" smtClean="0"/>
            <a:t>Pot de l'amitié</a:t>
          </a:r>
          <a:endParaRPr lang="fr-FR" dirty="0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714566D6-3752-4F8D-B7E1-93CDB8A95665}" type="presOf" srcId="{F562CD0B-E8EB-4DBC-82FD-4F9ECF32E366}" destId="{6940BDDF-1FEF-41BF-B9E9-0FFE3926A970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FB95BB9D-E363-4F28-8E32-1D83641C2145}" type="presOf" srcId="{2950704D-F612-46DF-93DB-38562274CE0A}" destId="{CD0934E8-FFC7-4C4F-89BE-AC8E748C473B}" srcOrd="0" destOrd="0" presId="urn:microsoft.com/office/officeart/2008/layout/VerticalCurvedList"/>
    <dgm:cxn modelId="{A3A1B088-8FE0-47EB-A90D-FFA4C949EF89}" type="presOf" srcId="{59788018-3182-43A3-8988-94BE0745A02A}" destId="{54C74578-773C-4297-A4DE-1398F67BB91C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E50614EF-EB7A-4516-AF04-88C731085F81}" type="presOf" srcId="{F010CF21-4A6D-44EF-A02C-3D5169816247}" destId="{08449366-2565-4365-85A6-6FD21C00BC0F}" srcOrd="0" destOrd="0" presId="urn:microsoft.com/office/officeart/2008/layout/VerticalCurvedList"/>
    <dgm:cxn modelId="{08F5FB5B-66E3-4023-B452-277A82F001BC}" type="presOf" srcId="{445F633E-575C-4AF5-92DD-A71CC7C927A2}" destId="{08F89A7F-2AF5-4371-8B52-FA6479DF35C0}" srcOrd="0" destOrd="0" presId="urn:microsoft.com/office/officeart/2008/layout/VerticalCurvedList"/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FA4442E0-8367-4B1F-90C0-C0DD1F3D3B25}" type="presOf" srcId="{EDB31ED3-0E8F-4401-8F1C-3B18C9A8633A}" destId="{8126DCD3-7CB9-48CE-9320-BD9FFB148001}" srcOrd="0" destOrd="0" presId="urn:microsoft.com/office/officeart/2008/layout/VerticalCurvedList"/>
    <dgm:cxn modelId="{D8ABCB50-15E7-4A68-8CCF-60878CBA1286}" type="presOf" srcId="{B9A48CF8-D428-45D1-8969-FBBF15BE7DBA}" destId="{B33E6E9D-CEE0-4253-A8E7-0BD98EFB662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A898E4BF-AEB7-40D1-B606-0B9607383BA9}" type="presOf" srcId="{E81A0284-562D-4965-817B-B98B89BD7A12}" destId="{FB08870E-FF0D-4C93-98E3-73F93153C9AC}" srcOrd="0" destOrd="0" presId="urn:microsoft.com/office/officeart/2008/layout/VerticalCurvedList"/>
    <dgm:cxn modelId="{4FBC1764-3042-4EC2-A6A9-2D36FF9D3950}" type="presOf" srcId="{699445AF-5A04-47F7-878E-3F17D893EA9D}" destId="{7CCCBC3E-A548-477F-AB4A-CF7F4D57704E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DC0C2003-506D-4F8C-9283-EC66896FCB27}" type="presParOf" srcId="{08449366-2565-4365-85A6-6FD21C00BC0F}" destId="{43AFC4E7-46DA-4B7B-B201-0A406A05CAD2}" srcOrd="0" destOrd="0" presId="urn:microsoft.com/office/officeart/2008/layout/VerticalCurvedList"/>
    <dgm:cxn modelId="{AD596787-ABB4-4F11-8984-63E3A1CE6189}" type="presParOf" srcId="{43AFC4E7-46DA-4B7B-B201-0A406A05CAD2}" destId="{C89A3969-C068-41DF-977E-ED5F7B6D0CE6}" srcOrd="0" destOrd="0" presId="urn:microsoft.com/office/officeart/2008/layout/VerticalCurvedList"/>
    <dgm:cxn modelId="{3827ABFC-76AB-4C6A-9CE7-DDB6E043DE14}" type="presParOf" srcId="{C89A3969-C068-41DF-977E-ED5F7B6D0CE6}" destId="{36B09AF6-20B6-459B-86E4-BA1ECCD29B61}" srcOrd="0" destOrd="0" presId="urn:microsoft.com/office/officeart/2008/layout/VerticalCurvedList"/>
    <dgm:cxn modelId="{09F16619-878F-487B-A05A-81CCF50E5956}" type="presParOf" srcId="{C89A3969-C068-41DF-977E-ED5F7B6D0CE6}" destId="{6940BDDF-1FEF-41BF-B9E9-0FFE3926A970}" srcOrd="1" destOrd="0" presId="urn:microsoft.com/office/officeart/2008/layout/VerticalCurvedList"/>
    <dgm:cxn modelId="{1A6407E1-8793-4B19-A55F-799ABB30D5F5}" type="presParOf" srcId="{C89A3969-C068-41DF-977E-ED5F7B6D0CE6}" destId="{CF948C64-B606-46D3-AF0E-5C95CC7F1D42}" srcOrd="2" destOrd="0" presId="urn:microsoft.com/office/officeart/2008/layout/VerticalCurvedList"/>
    <dgm:cxn modelId="{64DE1548-39AA-4BF7-B653-75C25C69E89E}" type="presParOf" srcId="{C89A3969-C068-41DF-977E-ED5F7B6D0CE6}" destId="{4485BF69-EF87-4AEE-AFDF-DE2F8D2ACCD9}" srcOrd="3" destOrd="0" presId="urn:microsoft.com/office/officeart/2008/layout/VerticalCurvedList"/>
    <dgm:cxn modelId="{03156E11-1F51-46A8-8A78-E29F073B04E7}" type="presParOf" srcId="{43AFC4E7-46DA-4B7B-B201-0A406A05CAD2}" destId="{54C74578-773C-4297-A4DE-1398F67BB91C}" srcOrd="1" destOrd="0" presId="urn:microsoft.com/office/officeart/2008/layout/VerticalCurvedList"/>
    <dgm:cxn modelId="{4BCE42B2-2BFF-43DD-85FE-A2FA29AF9E28}" type="presParOf" srcId="{43AFC4E7-46DA-4B7B-B201-0A406A05CAD2}" destId="{10D97C5B-BA88-4603-BEB8-816B9E26E1E0}" srcOrd="2" destOrd="0" presId="urn:microsoft.com/office/officeart/2008/layout/VerticalCurvedList"/>
    <dgm:cxn modelId="{1B7F1617-24B4-4689-93E1-39EDB2453B0B}" type="presParOf" srcId="{10D97C5B-BA88-4603-BEB8-816B9E26E1E0}" destId="{EBBCF617-4DDB-47D0-98C7-99413FA904B7}" srcOrd="0" destOrd="0" presId="urn:microsoft.com/office/officeart/2008/layout/VerticalCurvedList"/>
    <dgm:cxn modelId="{F050815B-84B4-4300-A6CE-9E4ABC5B9247}" type="presParOf" srcId="{43AFC4E7-46DA-4B7B-B201-0A406A05CAD2}" destId="{B33E6E9D-CEE0-4253-A8E7-0BD98EFB662C}" srcOrd="3" destOrd="0" presId="urn:microsoft.com/office/officeart/2008/layout/VerticalCurvedList"/>
    <dgm:cxn modelId="{90B91A21-25D3-4F81-89AE-E14F368F66C1}" type="presParOf" srcId="{43AFC4E7-46DA-4B7B-B201-0A406A05CAD2}" destId="{0C3100F7-B06F-4D61-8952-72DDA3F196CC}" srcOrd="4" destOrd="0" presId="urn:microsoft.com/office/officeart/2008/layout/VerticalCurvedList"/>
    <dgm:cxn modelId="{BF6599E6-0235-4A2F-93DF-82BF58F754FD}" type="presParOf" srcId="{0C3100F7-B06F-4D61-8952-72DDA3F196CC}" destId="{7A113706-4115-4E46-A0DB-BB2E4C947383}" srcOrd="0" destOrd="0" presId="urn:microsoft.com/office/officeart/2008/layout/VerticalCurvedList"/>
    <dgm:cxn modelId="{BFBA1BED-A8C4-4BAE-A227-E8BE607329F8}" type="presParOf" srcId="{43AFC4E7-46DA-4B7B-B201-0A406A05CAD2}" destId="{CD0934E8-FFC7-4C4F-89BE-AC8E748C473B}" srcOrd="5" destOrd="0" presId="urn:microsoft.com/office/officeart/2008/layout/VerticalCurvedList"/>
    <dgm:cxn modelId="{400DD34F-5717-44FB-B67F-30784CF0BA78}" type="presParOf" srcId="{43AFC4E7-46DA-4B7B-B201-0A406A05CAD2}" destId="{E9561BC4-D00A-48CE-8C8A-EEF31BA7E3DC}" srcOrd="6" destOrd="0" presId="urn:microsoft.com/office/officeart/2008/layout/VerticalCurvedList"/>
    <dgm:cxn modelId="{8DCD8FC9-2B04-4116-B43E-CD2CEF05D177}" type="presParOf" srcId="{E9561BC4-D00A-48CE-8C8A-EEF31BA7E3DC}" destId="{0692BF8D-B063-4580-8A2D-225A14481CCD}" srcOrd="0" destOrd="0" presId="urn:microsoft.com/office/officeart/2008/layout/VerticalCurvedList"/>
    <dgm:cxn modelId="{4AFAF1B2-A409-44DC-B5AA-A7F24679584A}" type="presParOf" srcId="{43AFC4E7-46DA-4B7B-B201-0A406A05CAD2}" destId="{7CCCBC3E-A548-477F-AB4A-CF7F4D57704E}" srcOrd="7" destOrd="0" presId="urn:microsoft.com/office/officeart/2008/layout/VerticalCurvedList"/>
    <dgm:cxn modelId="{2545A25C-0311-47B9-ACB0-B3987C939027}" type="presParOf" srcId="{43AFC4E7-46DA-4B7B-B201-0A406A05CAD2}" destId="{52AAC49D-EBED-4268-8D76-691EE33A579D}" srcOrd="8" destOrd="0" presId="urn:microsoft.com/office/officeart/2008/layout/VerticalCurvedList"/>
    <dgm:cxn modelId="{BBFEE6B8-ECF8-4040-A3F2-7B4419D0E16B}" type="presParOf" srcId="{52AAC49D-EBED-4268-8D76-691EE33A579D}" destId="{153D8280-B34C-4997-89AD-DE892539C6A1}" srcOrd="0" destOrd="0" presId="urn:microsoft.com/office/officeart/2008/layout/VerticalCurvedList"/>
    <dgm:cxn modelId="{05F6C39A-CF43-4358-975C-F77CC9268F86}" type="presParOf" srcId="{43AFC4E7-46DA-4B7B-B201-0A406A05CAD2}" destId="{08F89A7F-2AF5-4371-8B52-FA6479DF35C0}" srcOrd="9" destOrd="0" presId="urn:microsoft.com/office/officeart/2008/layout/VerticalCurvedList"/>
    <dgm:cxn modelId="{65910E06-F17E-4135-84FB-3E014824F9CA}" type="presParOf" srcId="{43AFC4E7-46DA-4B7B-B201-0A406A05CAD2}" destId="{F13EF3DA-EB59-4531-832A-CE6769FB357E}" srcOrd="10" destOrd="0" presId="urn:microsoft.com/office/officeart/2008/layout/VerticalCurvedList"/>
    <dgm:cxn modelId="{8A436E53-D019-4BC9-B8DB-3F6C4F0DDFD9}" type="presParOf" srcId="{F13EF3DA-EB59-4531-832A-CE6769FB357E}" destId="{1CAC461D-769E-43F1-85D8-A86E37EE9368}" srcOrd="0" destOrd="0" presId="urn:microsoft.com/office/officeart/2008/layout/VerticalCurvedList"/>
    <dgm:cxn modelId="{FA788A7D-FA81-45A7-B079-1856E001B8D4}" type="presParOf" srcId="{43AFC4E7-46DA-4B7B-B201-0A406A05CAD2}" destId="{8126DCD3-7CB9-48CE-9320-BD9FFB148001}" srcOrd="11" destOrd="0" presId="urn:microsoft.com/office/officeart/2008/layout/VerticalCurvedList"/>
    <dgm:cxn modelId="{6511A11D-779C-4671-B533-28E7F02D8CCA}" type="presParOf" srcId="{43AFC4E7-46DA-4B7B-B201-0A406A05CAD2}" destId="{547E224F-A6EA-4836-A3FF-8F1216A753A0}" srcOrd="12" destOrd="0" presId="urn:microsoft.com/office/officeart/2008/layout/VerticalCurvedList"/>
    <dgm:cxn modelId="{C9900F85-8061-41B0-B819-55F9ADF45519}" type="presParOf" srcId="{547E224F-A6EA-4836-A3FF-8F1216A753A0}" destId="{8C00D473-19AF-4CDA-AA78-6937BED59218}" srcOrd="0" destOrd="0" presId="urn:microsoft.com/office/officeart/2008/layout/VerticalCurvedList"/>
    <dgm:cxn modelId="{CC2A78FE-DB3E-43E6-812F-4FA9B396E24F}" type="presParOf" srcId="{43AFC4E7-46DA-4B7B-B201-0A406A05CAD2}" destId="{FB08870E-FF0D-4C93-98E3-73F93153C9AC}" srcOrd="13" destOrd="0" presId="urn:microsoft.com/office/officeart/2008/layout/VerticalCurvedList"/>
    <dgm:cxn modelId="{62E6E33F-37A1-48D6-9D0D-7961822865DF}" type="presParOf" srcId="{43AFC4E7-46DA-4B7B-B201-0A406A05CAD2}" destId="{EEE5F45C-B2C8-41B8-BDE7-E14146B6438C}" srcOrd="14" destOrd="0" presId="urn:microsoft.com/office/officeart/2008/layout/VerticalCurvedList"/>
    <dgm:cxn modelId="{D6485E13-4540-4E79-ADAC-32CDFC94C211}" type="presParOf" srcId="{EEE5F45C-B2C8-41B8-BDE7-E14146B6438C}" destId="{E3F2224B-B766-4EE7-96DD-292C5A03119D}" srcOrd="0" destOrd="0" presId="urn:microsoft.com/office/officeart/2008/layout/VerticalCurvedList"/>
  </dgm:cxnLst>
  <dgm:bg/>
  <dgm:whole/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: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dirty="0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dirty="0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dirty="0" smtClean="0"/>
            <a:t>Pot de l'amitié</a:t>
          </a:r>
          <a:endParaRPr lang="fr-FR" dirty="0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7A6434EF-703C-4703-9358-8DBD9AF69094}" type="presOf" srcId="{445F633E-575C-4AF5-92DD-A71CC7C927A2}" destId="{08F89A7F-2AF5-4371-8B52-FA6479DF35C0}" srcOrd="0" destOrd="0" presId="urn:microsoft.com/office/officeart/2008/layout/VerticalCurvedList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6A88662A-32AE-44AA-990A-F0C3AF271075}" type="presOf" srcId="{B9A48CF8-D428-45D1-8969-FBBF15BE7DBA}" destId="{B33E6E9D-CEE0-4253-A8E7-0BD98EFB662C}" srcOrd="0" destOrd="0" presId="urn:microsoft.com/office/officeart/2008/layout/VerticalCurvedList"/>
    <dgm:cxn modelId="{080225C7-3E50-43C9-A7ED-46748254FA6F}" type="presOf" srcId="{F562CD0B-E8EB-4DBC-82FD-4F9ECF32E366}" destId="{6940BDDF-1FEF-41BF-B9E9-0FFE3926A970}" srcOrd="0" destOrd="0" presId="urn:microsoft.com/office/officeart/2008/layout/VerticalCurvedList"/>
    <dgm:cxn modelId="{C4CCAC99-B8E2-459B-B222-722C3BBE78D0}" type="presOf" srcId="{E81A0284-562D-4965-817B-B98B89BD7A12}" destId="{FB08870E-FF0D-4C93-98E3-73F93153C9AC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1036A2E3-E5B3-4AA1-BE3D-0280D8467B6E}" type="presOf" srcId="{59788018-3182-43A3-8988-94BE0745A02A}" destId="{54C74578-773C-4297-A4DE-1398F67BB91C}" srcOrd="0" destOrd="0" presId="urn:microsoft.com/office/officeart/2008/layout/VerticalCurvedList"/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D68F580E-6000-4FBF-B216-D9D3B5A2EB15}" type="presOf" srcId="{F010CF21-4A6D-44EF-A02C-3D5169816247}" destId="{08449366-2565-4365-85A6-6FD21C00BC0F}" srcOrd="0" destOrd="0" presId="urn:microsoft.com/office/officeart/2008/layout/VerticalCurvedList"/>
    <dgm:cxn modelId="{3DC07BB5-6AF5-4E70-867B-A3E9C4D08D91}" type="presOf" srcId="{2950704D-F612-46DF-93DB-38562274CE0A}" destId="{CD0934E8-FFC7-4C4F-89BE-AC8E748C473B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9CEE6AD7-2B49-4D88-A3E8-AF14EE13CFEF}" type="presOf" srcId="{EDB31ED3-0E8F-4401-8F1C-3B18C9A8633A}" destId="{8126DCD3-7CB9-48CE-9320-BD9FFB148001}" srcOrd="0" destOrd="0" presId="urn:microsoft.com/office/officeart/2008/layout/VerticalCurvedList"/>
    <dgm:cxn modelId="{FB1FDC7A-FA85-460F-84B4-AFB544FA7741}" type="presOf" srcId="{699445AF-5A04-47F7-878E-3F17D893EA9D}" destId="{7CCCBC3E-A548-477F-AB4A-CF7F4D57704E}" srcOrd="0" destOrd="0" presId="urn:microsoft.com/office/officeart/2008/layout/VerticalCurvedList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1D3D7408-B99B-4AC8-AFE6-912FDBFB5FAC}" type="presParOf" srcId="{08449366-2565-4365-85A6-6FD21C00BC0F}" destId="{43AFC4E7-46DA-4B7B-B201-0A406A05CAD2}" srcOrd="0" destOrd="0" presId="urn:microsoft.com/office/officeart/2008/layout/VerticalCurvedList"/>
    <dgm:cxn modelId="{D21C3626-D483-4903-B221-48ACCB464332}" type="presParOf" srcId="{43AFC4E7-46DA-4B7B-B201-0A406A05CAD2}" destId="{C89A3969-C068-41DF-977E-ED5F7B6D0CE6}" srcOrd="0" destOrd="0" presId="urn:microsoft.com/office/officeart/2008/layout/VerticalCurvedList"/>
    <dgm:cxn modelId="{0224AAF1-D05E-425F-A464-81FAF8307C17}" type="presParOf" srcId="{C89A3969-C068-41DF-977E-ED5F7B6D0CE6}" destId="{36B09AF6-20B6-459B-86E4-BA1ECCD29B61}" srcOrd="0" destOrd="0" presId="urn:microsoft.com/office/officeart/2008/layout/VerticalCurvedList"/>
    <dgm:cxn modelId="{737E4D70-E3E3-40AD-848B-BDBC33B7DAB6}" type="presParOf" srcId="{C89A3969-C068-41DF-977E-ED5F7B6D0CE6}" destId="{6940BDDF-1FEF-41BF-B9E9-0FFE3926A970}" srcOrd="1" destOrd="0" presId="urn:microsoft.com/office/officeart/2008/layout/VerticalCurvedList"/>
    <dgm:cxn modelId="{2DB77E3C-44D0-464C-85FD-857DEAE1C42F}" type="presParOf" srcId="{C89A3969-C068-41DF-977E-ED5F7B6D0CE6}" destId="{CF948C64-B606-46D3-AF0E-5C95CC7F1D42}" srcOrd="2" destOrd="0" presId="urn:microsoft.com/office/officeart/2008/layout/VerticalCurvedList"/>
    <dgm:cxn modelId="{3E558203-A03E-4B1E-AF33-ABA93BAF826A}" type="presParOf" srcId="{C89A3969-C068-41DF-977E-ED5F7B6D0CE6}" destId="{4485BF69-EF87-4AEE-AFDF-DE2F8D2ACCD9}" srcOrd="3" destOrd="0" presId="urn:microsoft.com/office/officeart/2008/layout/VerticalCurvedList"/>
    <dgm:cxn modelId="{E30CF10A-0F89-4B1C-9A4E-B1F81AAAC2BE}" type="presParOf" srcId="{43AFC4E7-46DA-4B7B-B201-0A406A05CAD2}" destId="{54C74578-773C-4297-A4DE-1398F67BB91C}" srcOrd="1" destOrd="0" presId="urn:microsoft.com/office/officeart/2008/layout/VerticalCurvedList"/>
    <dgm:cxn modelId="{D6DD51D3-603A-4031-9644-E33AC1922ACB}" type="presParOf" srcId="{43AFC4E7-46DA-4B7B-B201-0A406A05CAD2}" destId="{10D97C5B-BA88-4603-BEB8-816B9E26E1E0}" srcOrd="2" destOrd="0" presId="urn:microsoft.com/office/officeart/2008/layout/VerticalCurvedList"/>
    <dgm:cxn modelId="{F0C52721-8EBA-4B82-8837-D1513E194B7E}" type="presParOf" srcId="{10D97C5B-BA88-4603-BEB8-816B9E26E1E0}" destId="{EBBCF617-4DDB-47D0-98C7-99413FA904B7}" srcOrd="0" destOrd="0" presId="urn:microsoft.com/office/officeart/2008/layout/VerticalCurvedList"/>
    <dgm:cxn modelId="{5D563DD4-A402-484E-B54D-CAFE89DADAB5}" type="presParOf" srcId="{43AFC4E7-46DA-4B7B-B201-0A406A05CAD2}" destId="{B33E6E9D-CEE0-4253-A8E7-0BD98EFB662C}" srcOrd="3" destOrd="0" presId="urn:microsoft.com/office/officeart/2008/layout/VerticalCurvedList"/>
    <dgm:cxn modelId="{A1B0A8D9-B22C-416D-B264-C6A2FCBC4DF5}" type="presParOf" srcId="{43AFC4E7-46DA-4B7B-B201-0A406A05CAD2}" destId="{0C3100F7-B06F-4D61-8952-72DDA3F196CC}" srcOrd="4" destOrd="0" presId="urn:microsoft.com/office/officeart/2008/layout/VerticalCurvedList"/>
    <dgm:cxn modelId="{57492F1E-D309-43D0-98E2-AF675EA8EFC6}" type="presParOf" srcId="{0C3100F7-B06F-4D61-8952-72DDA3F196CC}" destId="{7A113706-4115-4E46-A0DB-BB2E4C947383}" srcOrd="0" destOrd="0" presId="urn:microsoft.com/office/officeart/2008/layout/VerticalCurvedList"/>
    <dgm:cxn modelId="{A9D3E645-2173-4F9A-97BC-DF8B81815EFD}" type="presParOf" srcId="{43AFC4E7-46DA-4B7B-B201-0A406A05CAD2}" destId="{CD0934E8-FFC7-4C4F-89BE-AC8E748C473B}" srcOrd="5" destOrd="0" presId="urn:microsoft.com/office/officeart/2008/layout/VerticalCurvedList"/>
    <dgm:cxn modelId="{363C3425-0F52-4F37-964E-5774AD0AEA96}" type="presParOf" srcId="{43AFC4E7-46DA-4B7B-B201-0A406A05CAD2}" destId="{E9561BC4-D00A-48CE-8C8A-EEF31BA7E3DC}" srcOrd="6" destOrd="0" presId="urn:microsoft.com/office/officeart/2008/layout/VerticalCurvedList"/>
    <dgm:cxn modelId="{C19AAC65-F1DF-4BF3-9703-16835B7AD056}" type="presParOf" srcId="{E9561BC4-D00A-48CE-8C8A-EEF31BA7E3DC}" destId="{0692BF8D-B063-4580-8A2D-225A14481CCD}" srcOrd="0" destOrd="0" presId="urn:microsoft.com/office/officeart/2008/layout/VerticalCurvedList"/>
    <dgm:cxn modelId="{B958B84C-39D8-4463-A70D-DCA368313C11}" type="presParOf" srcId="{43AFC4E7-46DA-4B7B-B201-0A406A05CAD2}" destId="{7CCCBC3E-A548-477F-AB4A-CF7F4D57704E}" srcOrd="7" destOrd="0" presId="urn:microsoft.com/office/officeart/2008/layout/VerticalCurvedList"/>
    <dgm:cxn modelId="{06268193-5339-4ADD-9E27-483161C13996}" type="presParOf" srcId="{43AFC4E7-46DA-4B7B-B201-0A406A05CAD2}" destId="{52AAC49D-EBED-4268-8D76-691EE33A579D}" srcOrd="8" destOrd="0" presId="urn:microsoft.com/office/officeart/2008/layout/VerticalCurvedList"/>
    <dgm:cxn modelId="{FE38CA43-EC9D-4E92-B03B-6750FC9A0A9F}" type="presParOf" srcId="{52AAC49D-EBED-4268-8D76-691EE33A579D}" destId="{153D8280-B34C-4997-89AD-DE892539C6A1}" srcOrd="0" destOrd="0" presId="urn:microsoft.com/office/officeart/2008/layout/VerticalCurvedList"/>
    <dgm:cxn modelId="{938BB460-18F6-4E49-8C30-6103A3858694}" type="presParOf" srcId="{43AFC4E7-46DA-4B7B-B201-0A406A05CAD2}" destId="{08F89A7F-2AF5-4371-8B52-FA6479DF35C0}" srcOrd="9" destOrd="0" presId="urn:microsoft.com/office/officeart/2008/layout/VerticalCurvedList"/>
    <dgm:cxn modelId="{A541A4E7-ECCA-4DEA-827D-5FCA69AF1A6F}" type="presParOf" srcId="{43AFC4E7-46DA-4B7B-B201-0A406A05CAD2}" destId="{F13EF3DA-EB59-4531-832A-CE6769FB357E}" srcOrd="10" destOrd="0" presId="urn:microsoft.com/office/officeart/2008/layout/VerticalCurvedList"/>
    <dgm:cxn modelId="{8039ECC9-1B15-4BFB-926B-7954C5A31B88}" type="presParOf" srcId="{F13EF3DA-EB59-4531-832A-CE6769FB357E}" destId="{1CAC461D-769E-43F1-85D8-A86E37EE9368}" srcOrd="0" destOrd="0" presId="urn:microsoft.com/office/officeart/2008/layout/VerticalCurvedList"/>
    <dgm:cxn modelId="{8E6A1D11-12B4-495B-9ED3-7681708F2099}" type="presParOf" srcId="{43AFC4E7-46DA-4B7B-B201-0A406A05CAD2}" destId="{8126DCD3-7CB9-48CE-9320-BD9FFB148001}" srcOrd="11" destOrd="0" presId="urn:microsoft.com/office/officeart/2008/layout/VerticalCurvedList"/>
    <dgm:cxn modelId="{DE7A69B4-4D4D-4975-B544-57BF1C25BFFC}" type="presParOf" srcId="{43AFC4E7-46DA-4B7B-B201-0A406A05CAD2}" destId="{547E224F-A6EA-4836-A3FF-8F1216A753A0}" srcOrd="12" destOrd="0" presId="urn:microsoft.com/office/officeart/2008/layout/VerticalCurvedList"/>
    <dgm:cxn modelId="{0110A78F-E97D-48D6-9C62-F6D538ACCBB6}" type="presParOf" srcId="{547E224F-A6EA-4836-A3FF-8F1216A753A0}" destId="{8C00D473-19AF-4CDA-AA78-6937BED59218}" srcOrd="0" destOrd="0" presId="urn:microsoft.com/office/officeart/2008/layout/VerticalCurvedList"/>
    <dgm:cxn modelId="{9A3F626C-41DB-45BD-BB96-92FBEBD07EFE}" type="presParOf" srcId="{43AFC4E7-46DA-4B7B-B201-0A406A05CAD2}" destId="{FB08870E-FF0D-4C93-98E3-73F93153C9AC}" srcOrd="13" destOrd="0" presId="urn:microsoft.com/office/officeart/2008/layout/VerticalCurvedList"/>
    <dgm:cxn modelId="{C7CE476E-A268-4D26-B668-4573C8ED57F0}" type="presParOf" srcId="{43AFC4E7-46DA-4B7B-B201-0A406A05CAD2}" destId="{EEE5F45C-B2C8-41B8-BDE7-E14146B6438C}" srcOrd="14" destOrd="0" presId="urn:microsoft.com/office/officeart/2008/layout/VerticalCurvedList"/>
    <dgm:cxn modelId="{7D104C6D-27B9-4263-8116-4EE13DD0834A}" type="presParOf" srcId="{EEE5F45C-B2C8-41B8-BDE7-E14146B6438C}" destId="{E3F2224B-B766-4EE7-96DD-292C5A03119D}" srcOrd="0" destOrd="0" presId="urn:microsoft.com/office/officeart/2008/layout/VerticalCurvedList"/>
  </dgm:cxnLst>
  <dgm:bg/>
  <dgm:whole/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 smtClean="0"/>
            <a:t>Rapport moral du Président :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 smtClean="0"/>
            <a:t>Rapport financier de l’année 2015-2016</a:t>
          </a:r>
          <a:endParaRPr lang="fr-FR" dirty="0"/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 smtClean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699445AF-5A04-47F7-878E-3F17D893EA9D}">
      <dgm:prSet/>
      <dgm:spPr/>
      <dgm:t>
        <a:bodyPr/>
        <a:lstStyle/>
        <a:p>
          <a:r>
            <a:rPr lang="fr-FR" dirty="0" smtClean="0"/>
            <a:t>Les rendez-vous 2016-2017</a:t>
          </a:r>
          <a:endParaRPr lang="fr-FR" dirty="0"/>
        </a:p>
      </dgm:t>
    </dgm:pt>
    <dgm:pt modelId="{DED81942-9EE2-4EB8-9B59-9E9011CC2059}" type="parTrans" cxnId="{84B2CF3D-BBC8-45F3-8D5F-8008A0862721}">
      <dgm:prSet/>
      <dgm:spPr/>
      <dgm:t>
        <a:bodyPr/>
        <a:lstStyle/>
        <a:p>
          <a:endParaRPr lang="fr-FR"/>
        </a:p>
      </dgm:t>
    </dgm:pt>
    <dgm:pt modelId="{A084B61C-0399-4945-9472-503B9EB6EF18}" type="sibTrans" cxnId="{84B2CF3D-BBC8-45F3-8D5F-8008A0862721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 smtClean="0"/>
            <a:t>Budget de l’année 2016-2017</a:t>
          </a:r>
          <a:endParaRPr lang="fr-FR" dirty="0"/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EDB31ED3-0E8F-4401-8F1C-3B18C9A8633A}">
      <dgm:prSet/>
      <dgm:spPr/>
      <dgm:t>
        <a:bodyPr/>
        <a:lstStyle/>
        <a:p>
          <a:r>
            <a:rPr lang="fr-FR" dirty="0" smtClean="0"/>
            <a:t>Questions diverses</a:t>
          </a:r>
          <a:endParaRPr lang="fr-FR" dirty="0"/>
        </a:p>
      </dgm:t>
    </dgm:pt>
    <dgm:pt modelId="{BD980D20-AA68-466F-BFE3-E9117A2F2860}" type="parTrans" cxnId="{EFFBB6FC-C447-43EE-90D6-234E42A2ADCE}">
      <dgm:prSet/>
      <dgm:spPr/>
      <dgm:t>
        <a:bodyPr/>
        <a:lstStyle/>
        <a:p>
          <a:endParaRPr lang="fr-FR"/>
        </a:p>
      </dgm:t>
    </dgm:pt>
    <dgm:pt modelId="{33C83124-77D1-428A-8DB8-DC80649BBE4C}" type="sibTrans" cxnId="{EFFBB6FC-C447-43EE-90D6-234E42A2ADCE}">
      <dgm:prSet/>
      <dgm:spPr/>
      <dgm:t>
        <a:bodyPr/>
        <a:lstStyle/>
        <a:p>
          <a:endParaRPr lang="fr-FR"/>
        </a:p>
      </dgm:t>
    </dgm:pt>
    <dgm:pt modelId="{E81A0284-562D-4965-817B-B98B89BD7A12}">
      <dgm:prSet/>
      <dgm:spPr/>
      <dgm:t>
        <a:bodyPr/>
        <a:lstStyle/>
        <a:p>
          <a:r>
            <a:rPr lang="fr-FR" dirty="0" smtClean="0"/>
            <a:t>Pot de l'amitié</a:t>
          </a:r>
          <a:endParaRPr lang="fr-FR" dirty="0"/>
        </a:p>
      </dgm:t>
    </dgm:pt>
    <dgm:pt modelId="{89CCBF9A-FE7A-449E-A429-505CD7C1FA11}" type="parTrans" cxnId="{7C57C8FC-532A-47F8-B611-D6FA1EFB0FF7}">
      <dgm:prSet/>
      <dgm:spPr/>
      <dgm:t>
        <a:bodyPr/>
        <a:lstStyle/>
        <a:p>
          <a:endParaRPr lang="fr-FR"/>
        </a:p>
      </dgm:t>
    </dgm:pt>
    <dgm:pt modelId="{5DBFF471-71D2-4766-B308-DCDE6F954DAC}" type="sibTrans" cxnId="{7C57C8FC-532A-47F8-B611-D6FA1EFB0FF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43AFC4E7-46DA-4B7B-B201-0A406A05CAD2}" type="pres">
      <dgm:prSet presAssocID="{F010CF21-4A6D-44EF-A02C-3D5169816247}" presName="Name1" presStyleCnt="0"/>
      <dgm:spPr/>
      <dgm:t>
        <a:bodyPr/>
        <a:lstStyle/>
        <a:p>
          <a:endParaRPr lang="fr-FR"/>
        </a:p>
      </dgm:t>
    </dgm:pt>
    <dgm:pt modelId="{C89A3969-C068-41DF-977E-ED5F7B6D0CE6}" type="pres">
      <dgm:prSet presAssocID="{F010CF21-4A6D-44EF-A02C-3D5169816247}" presName="cycle" presStyleCnt="0"/>
      <dgm:spPr/>
      <dgm:t>
        <a:bodyPr/>
        <a:lstStyle/>
        <a:p>
          <a:endParaRPr lang="fr-FR"/>
        </a:p>
      </dgm:t>
    </dgm:pt>
    <dgm:pt modelId="{36B09AF6-20B6-459B-86E4-BA1ECCD29B61}" type="pres">
      <dgm:prSet presAssocID="{F010CF21-4A6D-44EF-A02C-3D5169816247}" presName="srcNode" presStyleLbl="node1" presStyleIdx="0" presStyleCnt="7"/>
      <dgm:spPr/>
      <dgm:t>
        <a:bodyPr/>
        <a:lstStyle/>
        <a:p>
          <a:endParaRPr lang="fr-FR"/>
        </a:p>
      </dgm:t>
    </dgm:pt>
    <dgm:pt modelId="{6940BDDF-1FEF-41BF-B9E9-0FFE3926A970}" type="pres">
      <dgm:prSet presAssocID="{F010CF21-4A6D-44EF-A02C-3D5169816247}" presName="conn" presStyleLbl="parChTrans1D2" presStyleIdx="0" presStyleCnt="1"/>
      <dgm:spPr/>
      <dgm:t>
        <a:bodyPr/>
        <a:lstStyle/>
        <a:p>
          <a:endParaRPr lang="fr-FR"/>
        </a:p>
      </dgm:t>
    </dgm:pt>
    <dgm:pt modelId="{CF948C64-B606-46D3-AF0E-5C95CC7F1D42}" type="pres">
      <dgm:prSet presAssocID="{F010CF21-4A6D-44EF-A02C-3D5169816247}" presName="extraNode" presStyleLbl="node1" presStyleIdx="0" presStyleCnt="7"/>
      <dgm:spPr/>
      <dgm:t>
        <a:bodyPr/>
        <a:lstStyle/>
        <a:p>
          <a:endParaRPr lang="fr-FR"/>
        </a:p>
      </dgm:t>
    </dgm:pt>
    <dgm:pt modelId="{4485BF69-EF87-4AEE-AFDF-DE2F8D2ACCD9}" type="pres">
      <dgm:prSet presAssocID="{F010CF21-4A6D-44EF-A02C-3D5169816247}" presName="dstNode" presStyleLbl="node1" presStyleIdx="0" presStyleCnt="7"/>
      <dgm:spPr/>
      <dgm:t>
        <a:bodyPr/>
        <a:lstStyle/>
        <a:p>
          <a:endParaRPr lang="fr-FR"/>
        </a:p>
      </dgm:t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D97C5B-BA88-4603-BEB8-816B9E26E1E0}" type="pres">
      <dgm:prSet presAssocID="{59788018-3182-43A3-8988-94BE0745A02A}" presName="accent_1" presStyleCnt="0"/>
      <dgm:spPr/>
      <dgm:t>
        <a:bodyPr/>
        <a:lstStyle/>
        <a:p>
          <a:endParaRPr lang="fr-FR"/>
        </a:p>
      </dgm:t>
    </dgm:pt>
    <dgm:pt modelId="{EBBCF617-4DDB-47D0-98C7-99413FA904B7}" type="pres">
      <dgm:prSet presAssocID="{59788018-3182-43A3-8988-94BE0745A02A}" presName="accentRepeatNode" presStyleLbl="solidFgAcc1" presStyleIdx="0" presStyleCnt="7"/>
      <dgm:spPr/>
      <dgm:t>
        <a:bodyPr/>
        <a:lstStyle/>
        <a:p>
          <a:endParaRPr lang="fr-FR"/>
        </a:p>
      </dgm:t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100F7-B06F-4D61-8952-72DDA3F196CC}" type="pres">
      <dgm:prSet presAssocID="{B9A48CF8-D428-45D1-8969-FBBF15BE7DBA}" presName="accent_2" presStyleCnt="0"/>
      <dgm:spPr/>
      <dgm:t>
        <a:bodyPr/>
        <a:lstStyle/>
        <a:p>
          <a:endParaRPr lang="fr-FR"/>
        </a:p>
      </dgm:t>
    </dgm:pt>
    <dgm:pt modelId="{7A113706-4115-4E46-A0DB-BB2E4C947383}" type="pres">
      <dgm:prSet presAssocID="{B9A48CF8-D428-45D1-8969-FBBF15BE7DBA}" presName="accentRepeatNode" presStyleLbl="solidFgAcc1" presStyleIdx="1" presStyleCnt="7"/>
      <dgm:spPr/>
      <dgm:t>
        <a:bodyPr/>
        <a:lstStyle/>
        <a:p>
          <a:endParaRPr lang="fr-FR"/>
        </a:p>
      </dgm:t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61BC4-D00A-48CE-8C8A-EEF31BA7E3DC}" type="pres">
      <dgm:prSet presAssocID="{2950704D-F612-46DF-93DB-38562274CE0A}" presName="accent_3" presStyleCnt="0"/>
      <dgm:spPr/>
      <dgm:t>
        <a:bodyPr/>
        <a:lstStyle/>
        <a:p>
          <a:endParaRPr lang="fr-FR"/>
        </a:p>
      </dgm:t>
    </dgm:pt>
    <dgm:pt modelId="{0692BF8D-B063-4580-8A2D-225A14481CCD}" type="pres">
      <dgm:prSet presAssocID="{2950704D-F612-46DF-93DB-38562274CE0A}" presName="accentRepeatNode" presStyleLbl="solidFgAcc1" presStyleIdx="2" presStyleCnt="7"/>
      <dgm:spPr/>
      <dgm:t>
        <a:bodyPr/>
        <a:lstStyle/>
        <a:p>
          <a:endParaRPr lang="fr-FR"/>
        </a:p>
      </dgm:t>
    </dgm:pt>
    <dgm:pt modelId="{7CCCBC3E-A548-477F-AB4A-CF7F4D57704E}" type="pres">
      <dgm:prSet presAssocID="{699445AF-5A04-47F7-878E-3F17D893EA9D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AAC49D-EBED-4268-8D76-691EE33A579D}" type="pres">
      <dgm:prSet presAssocID="{699445AF-5A04-47F7-878E-3F17D893EA9D}" presName="accent_4" presStyleCnt="0"/>
      <dgm:spPr/>
      <dgm:t>
        <a:bodyPr/>
        <a:lstStyle/>
        <a:p>
          <a:endParaRPr lang="fr-FR"/>
        </a:p>
      </dgm:t>
    </dgm:pt>
    <dgm:pt modelId="{153D8280-B34C-4997-89AD-DE892539C6A1}" type="pres">
      <dgm:prSet presAssocID="{699445AF-5A04-47F7-878E-3F17D893EA9D}" presName="accentRepeatNode" presStyleLbl="solidFgAcc1" presStyleIdx="3" presStyleCnt="7"/>
      <dgm:spPr/>
      <dgm:t>
        <a:bodyPr/>
        <a:lstStyle/>
        <a:p>
          <a:endParaRPr lang="fr-FR"/>
        </a:p>
      </dgm:t>
    </dgm:pt>
    <dgm:pt modelId="{08F89A7F-2AF5-4371-8B52-FA6479DF35C0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3EF3DA-EB59-4531-832A-CE6769FB357E}" type="pres">
      <dgm:prSet presAssocID="{445F633E-575C-4AF5-92DD-A71CC7C927A2}" presName="accent_5" presStyleCnt="0"/>
      <dgm:spPr/>
      <dgm:t>
        <a:bodyPr/>
        <a:lstStyle/>
        <a:p>
          <a:endParaRPr lang="fr-FR"/>
        </a:p>
      </dgm:t>
    </dgm:pt>
    <dgm:pt modelId="{1CAC461D-769E-43F1-85D8-A86E37EE9368}" type="pres">
      <dgm:prSet presAssocID="{445F633E-575C-4AF5-92DD-A71CC7C927A2}" presName="accentRepeatNode" presStyleLbl="solidFgAcc1" presStyleIdx="4" presStyleCnt="7"/>
      <dgm:spPr/>
      <dgm:t>
        <a:bodyPr/>
        <a:lstStyle/>
        <a:p>
          <a:endParaRPr lang="fr-FR"/>
        </a:p>
      </dgm:t>
    </dgm:pt>
    <dgm:pt modelId="{8126DCD3-7CB9-48CE-9320-BD9FFB148001}" type="pres">
      <dgm:prSet presAssocID="{EDB31ED3-0E8F-4401-8F1C-3B18C9A8633A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7E224F-A6EA-4836-A3FF-8F1216A753A0}" type="pres">
      <dgm:prSet presAssocID="{EDB31ED3-0E8F-4401-8F1C-3B18C9A8633A}" presName="accent_6" presStyleCnt="0"/>
      <dgm:spPr/>
      <dgm:t>
        <a:bodyPr/>
        <a:lstStyle/>
        <a:p>
          <a:endParaRPr lang="fr-FR"/>
        </a:p>
      </dgm:t>
    </dgm:pt>
    <dgm:pt modelId="{8C00D473-19AF-4CDA-AA78-6937BED59218}" type="pres">
      <dgm:prSet presAssocID="{EDB31ED3-0E8F-4401-8F1C-3B18C9A8633A}" presName="accentRepeatNode" presStyleLbl="solidFgAcc1" presStyleIdx="5" presStyleCnt="7"/>
      <dgm:spPr/>
      <dgm:t>
        <a:bodyPr/>
        <a:lstStyle/>
        <a:p>
          <a:endParaRPr lang="fr-FR"/>
        </a:p>
      </dgm:t>
    </dgm:pt>
    <dgm:pt modelId="{FB08870E-FF0D-4C93-98E3-73F93153C9AC}" type="pres">
      <dgm:prSet presAssocID="{E81A0284-562D-4965-817B-B98B89BD7A1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E5F45C-B2C8-41B8-BDE7-E14146B6438C}" type="pres">
      <dgm:prSet presAssocID="{E81A0284-562D-4965-817B-B98B89BD7A12}" presName="accent_7" presStyleCnt="0"/>
      <dgm:spPr/>
      <dgm:t>
        <a:bodyPr/>
        <a:lstStyle/>
        <a:p>
          <a:endParaRPr lang="fr-FR"/>
        </a:p>
      </dgm:t>
    </dgm:pt>
    <dgm:pt modelId="{E3F2224B-B766-4EE7-96DD-292C5A03119D}" type="pres">
      <dgm:prSet presAssocID="{E81A0284-562D-4965-817B-B98B89BD7A12}" presName="accentRepeatNode" presStyleLbl="solidFgAcc1" presStyleIdx="6" presStyleCnt="7"/>
      <dgm:spPr/>
      <dgm:t>
        <a:bodyPr/>
        <a:lstStyle/>
        <a:p>
          <a:endParaRPr lang="fr-FR"/>
        </a:p>
      </dgm:t>
    </dgm:pt>
  </dgm:ptLst>
  <dgm:cxnLst>
    <dgm:cxn modelId="{EFFBB6FC-C447-43EE-90D6-234E42A2ADCE}" srcId="{F010CF21-4A6D-44EF-A02C-3D5169816247}" destId="{EDB31ED3-0E8F-4401-8F1C-3B18C9A8633A}" srcOrd="5" destOrd="0" parTransId="{BD980D20-AA68-466F-BFE3-E9117A2F2860}" sibTransId="{33C83124-77D1-428A-8DB8-DC80649BBE4C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BC0C797-4C5F-47F2-AD21-228B735195E1}" type="presOf" srcId="{445F633E-575C-4AF5-92DD-A71CC7C927A2}" destId="{08F89A7F-2AF5-4371-8B52-FA6479DF35C0}" srcOrd="0" destOrd="0" presId="urn:microsoft.com/office/officeart/2008/layout/VerticalCurvedList"/>
    <dgm:cxn modelId="{32070B00-BA6B-44B8-BC08-29F2AEB28D87}" type="presOf" srcId="{B9A48CF8-D428-45D1-8969-FBBF15BE7DBA}" destId="{B33E6E9D-CEE0-4253-A8E7-0BD98EFB662C}" srcOrd="0" destOrd="0" presId="urn:microsoft.com/office/officeart/2008/layout/VerticalCurvedList"/>
    <dgm:cxn modelId="{92B5C6BE-A058-401E-9732-25CDA1D4BAAA}" type="presOf" srcId="{EDB31ED3-0E8F-4401-8F1C-3B18C9A8633A}" destId="{8126DCD3-7CB9-48CE-9320-BD9FFB148001}" srcOrd="0" destOrd="0" presId="urn:microsoft.com/office/officeart/2008/layout/VerticalCurvedList"/>
    <dgm:cxn modelId="{3D267D65-2242-4769-8B36-91059D2D558C}" type="presOf" srcId="{E81A0284-562D-4965-817B-B98B89BD7A12}" destId="{FB08870E-FF0D-4C93-98E3-73F93153C9AC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7C57C8FC-532A-47F8-B611-D6FA1EFB0FF7}" srcId="{F010CF21-4A6D-44EF-A02C-3D5169816247}" destId="{E81A0284-562D-4965-817B-B98B89BD7A12}" srcOrd="6" destOrd="0" parTransId="{89CCBF9A-FE7A-449E-A429-505CD7C1FA11}" sibTransId="{5DBFF471-71D2-4766-B308-DCDE6F954DAC}"/>
    <dgm:cxn modelId="{E0ACFFE1-688F-45A5-891B-77E5881F575F}" type="presOf" srcId="{59788018-3182-43A3-8988-94BE0745A02A}" destId="{54C74578-773C-4297-A4DE-1398F67BB91C}" srcOrd="0" destOrd="0" presId="urn:microsoft.com/office/officeart/2008/layout/VerticalCurvedList"/>
    <dgm:cxn modelId="{1DE6EA33-1AF3-44F7-B2E9-A7EF54227DF0}" type="presOf" srcId="{F010CF21-4A6D-44EF-A02C-3D5169816247}" destId="{08449366-2565-4365-85A6-6FD21C00BC0F}" srcOrd="0" destOrd="0" presId="urn:microsoft.com/office/officeart/2008/layout/VerticalCurvedList"/>
    <dgm:cxn modelId="{A2C6D93F-27CC-4FA5-9680-6FA8C0041181}" type="presOf" srcId="{699445AF-5A04-47F7-878E-3F17D893EA9D}" destId="{7CCCBC3E-A548-477F-AB4A-CF7F4D57704E}" srcOrd="0" destOrd="0" presId="urn:microsoft.com/office/officeart/2008/layout/VerticalCurvedList"/>
    <dgm:cxn modelId="{84B2CF3D-BBC8-45F3-8D5F-8008A0862721}" srcId="{F010CF21-4A6D-44EF-A02C-3D5169816247}" destId="{699445AF-5A04-47F7-878E-3F17D893EA9D}" srcOrd="3" destOrd="0" parTransId="{DED81942-9EE2-4EB8-9B59-9E9011CC2059}" sibTransId="{A084B61C-0399-4945-9472-503B9EB6EF18}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52AA5DB8-317C-4010-9F04-83A044B5BCC6}" type="presOf" srcId="{F562CD0B-E8EB-4DBC-82FD-4F9ECF32E366}" destId="{6940BDDF-1FEF-41BF-B9E9-0FFE3926A970}" srcOrd="0" destOrd="0" presId="urn:microsoft.com/office/officeart/2008/layout/VerticalCurvedList"/>
    <dgm:cxn modelId="{D7D88F38-2B68-4011-98A3-6FF060B7AE44}" type="presOf" srcId="{2950704D-F612-46DF-93DB-38562274CE0A}" destId="{CD0934E8-FFC7-4C4F-89BE-AC8E748C473B}" srcOrd="0" destOrd="0" presId="urn:microsoft.com/office/officeart/2008/layout/VerticalCurvedList"/>
    <dgm:cxn modelId="{70971F7C-04B9-4ABB-B1C2-F04BB3AD562A}" type="presParOf" srcId="{08449366-2565-4365-85A6-6FD21C00BC0F}" destId="{43AFC4E7-46DA-4B7B-B201-0A406A05CAD2}" srcOrd="0" destOrd="0" presId="urn:microsoft.com/office/officeart/2008/layout/VerticalCurvedList"/>
    <dgm:cxn modelId="{56E804C5-5402-431C-99FB-8FB96B3CBAEB}" type="presParOf" srcId="{43AFC4E7-46DA-4B7B-B201-0A406A05CAD2}" destId="{C89A3969-C068-41DF-977E-ED5F7B6D0CE6}" srcOrd="0" destOrd="0" presId="urn:microsoft.com/office/officeart/2008/layout/VerticalCurvedList"/>
    <dgm:cxn modelId="{48FA320C-164B-4CED-A530-743811F97671}" type="presParOf" srcId="{C89A3969-C068-41DF-977E-ED5F7B6D0CE6}" destId="{36B09AF6-20B6-459B-86E4-BA1ECCD29B61}" srcOrd="0" destOrd="0" presId="urn:microsoft.com/office/officeart/2008/layout/VerticalCurvedList"/>
    <dgm:cxn modelId="{7D149127-FC07-4E66-93B4-5AAB6604C460}" type="presParOf" srcId="{C89A3969-C068-41DF-977E-ED5F7B6D0CE6}" destId="{6940BDDF-1FEF-41BF-B9E9-0FFE3926A970}" srcOrd="1" destOrd="0" presId="urn:microsoft.com/office/officeart/2008/layout/VerticalCurvedList"/>
    <dgm:cxn modelId="{0DC4FB3C-3240-4389-9E59-450DA71A399F}" type="presParOf" srcId="{C89A3969-C068-41DF-977E-ED5F7B6D0CE6}" destId="{CF948C64-B606-46D3-AF0E-5C95CC7F1D42}" srcOrd="2" destOrd="0" presId="urn:microsoft.com/office/officeart/2008/layout/VerticalCurvedList"/>
    <dgm:cxn modelId="{20FA4300-2EE4-42CF-946E-9AEC3E4E8DBC}" type="presParOf" srcId="{C89A3969-C068-41DF-977E-ED5F7B6D0CE6}" destId="{4485BF69-EF87-4AEE-AFDF-DE2F8D2ACCD9}" srcOrd="3" destOrd="0" presId="urn:microsoft.com/office/officeart/2008/layout/VerticalCurvedList"/>
    <dgm:cxn modelId="{780E5EFF-FB21-48C4-B38F-91B3DE5F58B9}" type="presParOf" srcId="{43AFC4E7-46DA-4B7B-B201-0A406A05CAD2}" destId="{54C74578-773C-4297-A4DE-1398F67BB91C}" srcOrd="1" destOrd="0" presId="urn:microsoft.com/office/officeart/2008/layout/VerticalCurvedList"/>
    <dgm:cxn modelId="{73390961-EFA9-4AF3-9045-D8FD803AC993}" type="presParOf" srcId="{43AFC4E7-46DA-4B7B-B201-0A406A05CAD2}" destId="{10D97C5B-BA88-4603-BEB8-816B9E26E1E0}" srcOrd="2" destOrd="0" presId="urn:microsoft.com/office/officeart/2008/layout/VerticalCurvedList"/>
    <dgm:cxn modelId="{76C0D4E5-9F90-494E-8DB0-3B23A9553D7A}" type="presParOf" srcId="{10D97C5B-BA88-4603-BEB8-816B9E26E1E0}" destId="{EBBCF617-4DDB-47D0-98C7-99413FA904B7}" srcOrd="0" destOrd="0" presId="urn:microsoft.com/office/officeart/2008/layout/VerticalCurvedList"/>
    <dgm:cxn modelId="{246EE402-7ED5-47BD-B804-3A8805BA610A}" type="presParOf" srcId="{43AFC4E7-46DA-4B7B-B201-0A406A05CAD2}" destId="{B33E6E9D-CEE0-4253-A8E7-0BD98EFB662C}" srcOrd="3" destOrd="0" presId="urn:microsoft.com/office/officeart/2008/layout/VerticalCurvedList"/>
    <dgm:cxn modelId="{224276B3-59DC-4379-9C24-EBC732D984A3}" type="presParOf" srcId="{43AFC4E7-46DA-4B7B-B201-0A406A05CAD2}" destId="{0C3100F7-B06F-4D61-8952-72DDA3F196CC}" srcOrd="4" destOrd="0" presId="urn:microsoft.com/office/officeart/2008/layout/VerticalCurvedList"/>
    <dgm:cxn modelId="{49A2A8FA-2392-4538-AFB5-9EB1A6010AC4}" type="presParOf" srcId="{0C3100F7-B06F-4D61-8952-72DDA3F196CC}" destId="{7A113706-4115-4E46-A0DB-BB2E4C947383}" srcOrd="0" destOrd="0" presId="urn:microsoft.com/office/officeart/2008/layout/VerticalCurvedList"/>
    <dgm:cxn modelId="{3F510A1C-E107-4B1F-9DD1-F9A6EBAAE78E}" type="presParOf" srcId="{43AFC4E7-46DA-4B7B-B201-0A406A05CAD2}" destId="{CD0934E8-FFC7-4C4F-89BE-AC8E748C473B}" srcOrd="5" destOrd="0" presId="urn:microsoft.com/office/officeart/2008/layout/VerticalCurvedList"/>
    <dgm:cxn modelId="{C554FF67-7021-41DB-803E-1AFB5FB04DB5}" type="presParOf" srcId="{43AFC4E7-46DA-4B7B-B201-0A406A05CAD2}" destId="{E9561BC4-D00A-48CE-8C8A-EEF31BA7E3DC}" srcOrd="6" destOrd="0" presId="urn:microsoft.com/office/officeart/2008/layout/VerticalCurvedList"/>
    <dgm:cxn modelId="{D5583670-D321-4EA7-AB52-989BB1575995}" type="presParOf" srcId="{E9561BC4-D00A-48CE-8C8A-EEF31BA7E3DC}" destId="{0692BF8D-B063-4580-8A2D-225A14481CCD}" srcOrd="0" destOrd="0" presId="urn:microsoft.com/office/officeart/2008/layout/VerticalCurvedList"/>
    <dgm:cxn modelId="{F61CABC7-7312-469E-9F62-DFD430691073}" type="presParOf" srcId="{43AFC4E7-46DA-4B7B-B201-0A406A05CAD2}" destId="{7CCCBC3E-A548-477F-AB4A-CF7F4D57704E}" srcOrd="7" destOrd="0" presId="urn:microsoft.com/office/officeart/2008/layout/VerticalCurvedList"/>
    <dgm:cxn modelId="{310563B6-10F5-4A27-BF45-FCC53DDDACE1}" type="presParOf" srcId="{43AFC4E7-46DA-4B7B-B201-0A406A05CAD2}" destId="{52AAC49D-EBED-4268-8D76-691EE33A579D}" srcOrd="8" destOrd="0" presId="urn:microsoft.com/office/officeart/2008/layout/VerticalCurvedList"/>
    <dgm:cxn modelId="{7207E35E-888A-476D-A135-A03454B9138A}" type="presParOf" srcId="{52AAC49D-EBED-4268-8D76-691EE33A579D}" destId="{153D8280-B34C-4997-89AD-DE892539C6A1}" srcOrd="0" destOrd="0" presId="urn:microsoft.com/office/officeart/2008/layout/VerticalCurvedList"/>
    <dgm:cxn modelId="{F06B9861-8265-4629-9194-0455B9E21739}" type="presParOf" srcId="{43AFC4E7-46DA-4B7B-B201-0A406A05CAD2}" destId="{08F89A7F-2AF5-4371-8B52-FA6479DF35C0}" srcOrd="9" destOrd="0" presId="urn:microsoft.com/office/officeart/2008/layout/VerticalCurvedList"/>
    <dgm:cxn modelId="{F5A7E1E2-C8B5-453B-874F-D46011D95DDC}" type="presParOf" srcId="{43AFC4E7-46DA-4B7B-B201-0A406A05CAD2}" destId="{F13EF3DA-EB59-4531-832A-CE6769FB357E}" srcOrd="10" destOrd="0" presId="urn:microsoft.com/office/officeart/2008/layout/VerticalCurvedList"/>
    <dgm:cxn modelId="{68A93687-D867-4C36-A4EA-D9112D0ABE14}" type="presParOf" srcId="{F13EF3DA-EB59-4531-832A-CE6769FB357E}" destId="{1CAC461D-769E-43F1-85D8-A86E37EE9368}" srcOrd="0" destOrd="0" presId="urn:microsoft.com/office/officeart/2008/layout/VerticalCurvedList"/>
    <dgm:cxn modelId="{F15C50A4-54DF-4FFF-BFBB-36A780B141A9}" type="presParOf" srcId="{43AFC4E7-46DA-4B7B-B201-0A406A05CAD2}" destId="{8126DCD3-7CB9-48CE-9320-BD9FFB148001}" srcOrd="11" destOrd="0" presId="urn:microsoft.com/office/officeart/2008/layout/VerticalCurvedList"/>
    <dgm:cxn modelId="{EFB25607-8303-485A-A663-802028C0586F}" type="presParOf" srcId="{43AFC4E7-46DA-4B7B-B201-0A406A05CAD2}" destId="{547E224F-A6EA-4836-A3FF-8F1216A753A0}" srcOrd="12" destOrd="0" presId="urn:microsoft.com/office/officeart/2008/layout/VerticalCurvedList"/>
    <dgm:cxn modelId="{358BFD73-A03F-4CD6-A3AD-4C4731F20BDF}" type="presParOf" srcId="{547E224F-A6EA-4836-A3FF-8F1216A753A0}" destId="{8C00D473-19AF-4CDA-AA78-6937BED59218}" srcOrd="0" destOrd="0" presId="urn:microsoft.com/office/officeart/2008/layout/VerticalCurvedList"/>
    <dgm:cxn modelId="{B0E5A771-11AF-47C8-A3D2-635060CDCF1A}" type="presParOf" srcId="{43AFC4E7-46DA-4B7B-B201-0A406A05CAD2}" destId="{FB08870E-FF0D-4C93-98E3-73F93153C9AC}" srcOrd="13" destOrd="0" presId="urn:microsoft.com/office/officeart/2008/layout/VerticalCurvedList"/>
    <dgm:cxn modelId="{123D0FA5-6A81-4A2F-A569-A601CC0D5736}" type="presParOf" srcId="{43AFC4E7-46DA-4B7B-B201-0A406A05CAD2}" destId="{EEE5F45C-B2C8-41B8-BDE7-E14146B6438C}" srcOrd="14" destOrd="0" presId="urn:microsoft.com/office/officeart/2008/layout/VerticalCurvedList"/>
    <dgm:cxn modelId="{8E676CF1-C604-4424-B2C8-9B5D63AB0CC0}" type="presParOf" srcId="{EEE5F45C-B2C8-41B8-BDE7-E14146B6438C}" destId="{E3F2224B-B766-4EE7-96DD-292C5A03119D}" srcOrd="0" destOrd="0" presId="urn:microsoft.com/office/officeart/2008/layout/VerticalCurvedList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105201" y="-782073"/>
          <a:ext cx="6079692" cy="6079692"/>
        </a:xfrm>
        <a:prstGeom prst="blockArc">
          <a:avLst>
            <a:gd name="adj1" fmla="val 18900000"/>
            <a:gd name="adj2" fmla="val 2700000"/>
            <a:gd name="adj3" fmla="val 355"/>
          </a:avLst>
        </a:prstGeom>
        <a:noFill/>
        <a:ln w="25400" cap="flat" cmpd="sng" algn="ctr">
          <a:solidFill>
            <a:schemeClr val="accent4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626757" y="451554"/>
          <a:ext cx="7385707" cy="903109"/>
        </a:xfrm>
        <a:prstGeom prst="rect">
          <a:avLst/>
        </a:prstGeom>
        <a:gradFill rotWithShape="0">
          <a:gsLst>
            <a:gs pos="0">
              <a:schemeClr val="accent4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684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Plan </a:t>
          </a:r>
          <a:r>
            <a:rPr lang="fr-FR" sz="1800" kern="1200" smtClean="0"/>
            <a:t>d’action par domaine</a:t>
          </a:r>
          <a:endParaRPr lang="fr-FR" sz="1800" kern="1200" dirty="0" smtClean="0"/>
        </a:p>
      </dsp:txBody>
      <dsp:txXfrm>
        <a:off x="626757" y="451554"/>
        <a:ext cx="7385707" cy="903109"/>
      </dsp:txXfrm>
    </dsp:sp>
    <dsp:sp modelId="{EBBCF617-4DDB-47D0-98C7-99413FA904B7}">
      <dsp:nvSpPr>
        <dsp:cNvPr id="0" name=""/>
        <dsp:cNvSpPr/>
      </dsp:nvSpPr>
      <dsp:spPr>
        <a:xfrm>
          <a:off x="62314" y="338665"/>
          <a:ext cx="1128886" cy="11288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34081BC-E544-47DD-A973-A5583AA2D16C}">
      <dsp:nvSpPr>
        <dsp:cNvPr id="0" name=""/>
        <dsp:cNvSpPr/>
      </dsp:nvSpPr>
      <dsp:spPr>
        <a:xfrm>
          <a:off x="955037" y="1806218"/>
          <a:ext cx="7057427" cy="903109"/>
        </a:xfrm>
        <a:prstGeom prst="rect">
          <a:avLst/>
        </a:prstGeom>
        <a:gradFill rotWithShape="0">
          <a:gsLst>
            <a:gs pos="0">
              <a:schemeClr val="accent4">
                <a:shade val="50000"/>
                <a:hueOff val="-139622"/>
                <a:satOff val="-4225"/>
                <a:lumOff val="27741"/>
                <a:alphaOff val="0"/>
                <a:shade val="51000"/>
                <a:satMod val="130000"/>
              </a:schemeClr>
            </a:gs>
            <a:gs pos="80000">
              <a:schemeClr val="accent4">
                <a:shade val="50000"/>
                <a:hueOff val="-139622"/>
                <a:satOff val="-4225"/>
                <a:lumOff val="27741"/>
                <a:alphaOff val="0"/>
                <a:shade val="93000"/>
                <a:satMod val="130000"/>
              </a:schemeClr>
            </a:gs>
            <a:gs pos="100000">
              <a:schemeClr val="accent4">
                <a:shade val="50000"/>
                <a:hueOff val="-139622"/>
                <a:satOff val="-4225"/>
                <a:lumOff val="2774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684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Plan d’action prioritaire par acteur</a:t>
          </a:r>
          <a:endParaRPr lang="fr-FR" sz="1800" kern="1200" dirty="0" smtClean="0"/>
        </a:p>
      </dsp:txBody>
      <dsp:txXfrm>
        <a:off x="955037" y="1806218"/>
        <a:ext cx="7057427" cy="903109"/>
      </dsp:txXfrm>
    </dsp:sp>
    <dsp:sp modelId="{A213A996-4253-4666-B38F-D109C0DA3D4C}">
      <dsp:nvSpPr>
        <dsp:cNvPr id="0" name=""/>
        <dsp:cNvSpPr/>
      </dsp:nvSpPr>
      <dsp:spPr>
        <a:xfrm>
          <a:off x="390594" y="1693329"/>
          <a:ext cx="1128886" cy="11288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shade val="50000"/>
              <a:hueOff val="-139622"/>
              <a:satOff val="-4225"/>
              <a:lumOff val="2774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061B188-DC1F-BE46-9A43-D4F7D12E485B}">
      <dsp:nvSpPr>
        <dsp:cNvPr id="0" name=""/>
        <dsp:cNvSpPr/>
      </dsp:nvSpPr>
      <dsp:spPr>
        <a:xfrm>
          <a:off x="626757" y="3160881"/>
          <a:ext cx="7385707" cy="903109"/>
        </a:xfrm>
        <a:prstGeom prst="rect">
          <a:avLst/>
        </a:prstGeom>
        <a:gradFill rotWithShape="0">
          <a:gsLst>
            <a:gs pos="0">
              <a:schemeClr val="accent4">
                <a:shade val="50000"/>
                <a:hueOff val="-139622"/>
                <a:satOff val="-4225"/>
                <a:lumOff val="27741"/>
                <a:alphaOff val="0"/>
                <a:shade val="51000"/>
                <a:satMod val="130000"/>
              </a:schemeClr>
            </a:gs>
            <a:gs pos="80000">
              <a:schemeClr val="accent4">
                <a:shade val="50000"/>
                <a:hueOff val="-139622"/>
                <a:satOff val="-4225"/>
                <a:lumOff val="27741"/>
                <a:alphaOff val="0"/>
                <a:shade val="93000"/>
                <a:satMod val="130000"/>
              </a:schemeClr>
            </a:gs>
            <a:gs pos="100000">
              <a:schemeClr val="accent4">
                <a:shade val="50000"/>
                <a:hueOff val="-139622"/>
                <a:satOff val="-4225"/>
                <a:lumOff val="2774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6843" tIns="45720" rIns="45720" bIns="4572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Annexes</a:t>
          </a:r>
          <a:endParaRPr lang="fr-FR" sz="1800" kern="1200" dirty="0" smtClean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Plan d’action CRM</a:t>
          </a:r>
          <a:endParaRPr lang="fr-FR" sz="1800" kern="1200" dirty="0" smtClean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Principaux incidents depuis début Novembre</a:t>
          </a:r>
          <a:endParaRPr lang="fr-FR" sz="1800" kern="1200" dirty="0" smtClean="0"/>
        </a:p>
      </dsp:txBody>
      <dsp:txXfrm>
        <a:off x="626757" y="3160881"/>
        <a:ext cx="7385707" cy="903109"/>
      </dsp:txXfrm>
    </dsp:sp>
    <dsp:sp modelId="{AB607640-669E-C941-85E6-89608ADC3D85}">
      <dsp:nvSpPr>
        <dsp:cNvPr id="0" name=""/>
        <dsp:cNvSpPr/>
      </dsp:nvSpPr>
      <dsp:spPr>
        <a:xfrm>
          <a:off x="62314" y="3047992"/>
          <a:ext cx="1128886" cy="11288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shade val="50000"/>
              <a:hueOff val="-139622"/>
              <a:satOff val="-4225"/>
              <a:lumOff val="2774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6BA053A-33DE-1A41-8644-094BC57997AE}" type="datetime1">
              <a:rPr lang="fr-FR"/>
              <a:pPr/>
              <a:t>24/11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D57BE7FE-E4A3-0A4D-9492-11C4CDC0319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602341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36969-D6F7-F94C-8D5E-FCC412260ED5}" type="datetime1">
              <a:rPr lang="fr-FR"/>
              <a:pPr/>
              <a:t>24/11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53EB7-FBAD-6F4B-9076-286EBF24A43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75816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déb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/>
          </a:p>
        </p:txBody>
      </p:sp>
      <p:pic>
        <p:nvPicPr>
          <p:cNvPr id="6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48325" y="0"/>
            <a:ext cx="28797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55576" y="1628800"/>
            <a:ext cx="7772400" cy="100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28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27176" y="2780928"/>
            <a:ext cx="6400800" cy="10715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280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/>
          </a:p>
        </p:txBody>
      </p:sp>
      <p:sp>
        <p:nvSpPr>
          <p:cNvPr id="7" name="Espace réservé de la date 7"/>
          <p:cNvSpPr>
            <a:spLocks noGrp="1"/>
          </p:cNvSpPr>
          <p:nvPr>
            <p:ph type="dt" sz="half" idx="10"/>
          </p:nvPr>
        </p:nvSpPr>
        <p:spPr>
          <a:xfrm>
            <a:off x="457200" y="6021388"/>
            <a:ext cx="2133600" cy="365125"/>
          </a:xfrm>
        </p:spPr>
        <p:txBody>
          <a:bodyPr/>
          <a:lstStyle>
            <a:lvl1pPr>
              <a:defRPr sz="1800">
                <a:solidFill>
                  <a:srgbClr val="F18B2E"/>
                </a:solidFill>
                <a:cs typeface="Arial" charset="0"/>
              </a:defRPr>
            </a:lvl1pPr>
          </a:lstStyle>
          <a:p>
            <a:fld id="{0656C14F-DE3F-446C-8963-537D167CEBC5}" type="datetime1">
              <a:rPr lang="fr-FR" smtClean="0"/>
              <a:pPr/>
              <a:t>24/11/20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48332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264400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7705725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CD7A03-5B65-994C-83CB-9A48F4F7C8EC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AB46E585-5C0F-4A0C-B1C8-B9BACA9F4CBB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23089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756376-2475-D747-ACF9-EA860B353B8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8D8CD1D9-07C4-4EA6-9F9B-EEBF4EEE1A8C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305821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1BD3B8-1126-FE4F-BE67-0BA2363E936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8EA3C752-02CB-47F4-88D7-79FC40718AF0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633689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B72494-7E8D-764A-A7F3-2C623CB559DF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905B25-2064-47A4-A1C5-8C71DE682185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92425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05A5F7-49BB-DE43-94AA-E6246ECB3A40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1A7E206-7C5A-4AA7-B54A-A315A1F3C4BE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889777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C01B0D-47AD-C94F-AF57-90F3E31F95B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CEBD929-5BE2-4573-B979-F5BC33EA9871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02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7C5AB0-3378-9D46-9B4B-128089A4BD7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893C6EEE-BE4A-4099-BBEC-6268B95B82A2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084183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8450" y="307975"/>
            <a:ext cx="1843088" cy="4849813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116013" y="307975"/>
            <a:ext cx="5380037" cy="4849813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4A30A7-88FD-E242-8EA5-929F059010C6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2FFC271-44BC-4646-8F77-4E9914B09BBE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01872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95536" y="1714488"/>
            <a:ext cx="8424936" cy="3802744"/>
          </a:xfrm>
          <a:prstGeom prst="rect">
            <a:avLst/>
          </a:prstGeom>
        </p:spPr>
        <p:txBody>
          <a:bodyPr/>
          <a:lstStyle>
            <a:lvl1pPr marL="0" indent="-414000">
              <a:spcBef>
                <a:spcPts val="600"/>
              </a:spcBef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 marL="432000" indent="-180000">
              <a:buClr>
                <a:srgbClr val="463436"/>
              </a:buClr>
              <a:buSzPct val="100000"/>
              <a:buFont typeface="Lucida Grande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2pPr>
            <a:lvl3pPr marL="604800" indent="-180000">
              <a:buFont typeface="Arial" pitchFamily="34" charset="0"/>
              <a:buChar char="•"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3pPr>
            <a:lvl4pPr marL="900000" indent="-180000">
              <a:defRPr sz="12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5pPr>
            <a:lvl6pPr>
              <a:buFont typeface="Courier New" pitchFamily="49" charset="0"/>
              <a:buChar char="o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6pPr>
            <a:lvl7pPr>
              <a:buFont typeface="Wingdings" pitchFamily="2" charset="2"/>
              <a:buChar char="ü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7pPr>
            <a:lvl8pPr>
              <a:buFont typeface="Wingdings" pitchFamily="2" charset="2"/>
              <a:buChar char="§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8pPr>
            <a:lvl9pPr>
              <a:buFont typeface="Arial" pitchFamily="34" charset="0"/>
              <a:buChar char="−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1F3963A-43DD-EB43-A4D9-AE3239085684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694697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ous-titre 2"/>
          <p:cNvSpPr>
            <a:spLocks noGrp="1"/>
          </p:cNvSpPr>
          <p:nvPr>
            <p:ph type="subTitle" idx="1"/>
          </p:nvPr>
        </p:nvSpPr>
        <p:spPr>
          <a:xfrm>
            <a:off x="2090882" y="3429000"/>
            <a:ext cx="6400800" cy="10715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2800" b="1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 smtClean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719282" y="1923868"/>
            <a:ext cx="7772400" cy="1470025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algn="r">
              <a:defRPr sz="3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7A4251-82A4-1144-8CA4-466AE71FDCFB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82E872CE-EF19-42FB-94AD-BFFFDEA568ED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586102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13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827584" y="2428868"/>
            <a:ext cx="8247290" cy="3571900"/>
          </a:xfrm>
          <a:prstGeom prst="rect">
            <a:avLst/>
          </a:prstGeom>
        </p:spPr>
        <p:txBody>
          <a:bodyPr/>
          <a:lstStyle>
            <a:lvl1pPr marL="1588" indent="-1588" algn="just">
              <a:buFont typeface="Arial" pitchFamily="34" charset="0"/>
              <a:buNone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4AAB9A-83AE-584E-8D12-D8C74D9C9CA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fld id="{8B7D667C-2A6E-4B69-947B-77A4F4C7B4E0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3246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AF200E0-C85F-3A4A-848A-643236141C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A6563D49-41CD-476B-8EDF-C2C1D17F7DC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47980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8331200" y="6616700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fr-FR" sz="1800" dirty="0">
              <a:ea typeface="+mn-ea"/>
              <a:cs typeface="+mn-cs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2025" y="3276600"/>
            <a:ext cx="72199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286000" y="685800"/>
            <a:ext cx="4585492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0" y="6477000"/>
            <a:ext cx="9144000" cy="381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858403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D2978E-2CE7-D545-A572-DBCEF7B3B14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AD10189-03FC-47CB-A3BA-DBD82BD3F548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8213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AF95D1-4956-214C-8F5D-A8F941D5211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FD9114C-4FDA-48F9-977C-4CC42FE0EEA3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53905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CA3F5F-D417-FE45-BA36-FD72AD16D5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5619BBD9-416F-40AF-895D-1BC64087A58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97441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image" Target="../media/image6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Relationship Id="rId22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54486" y="6306797"/>
            <a:ext cx="1512604" cy="418744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 smtClean="0"/>
              <a:t>L'HERBLAISIENNE –</a:t>
            </a:r>
          </a:p>
          <a:p>
            <a:pPr algn="ctr">
              <a:defRPr/>
            </a:pPr>
            <a:r>
              <a:rPr lang="fr-FR" sz="800" dirty="0" smtClean="0"/>
              <a:t>43 rue du Général de Gaulle</a:t>
            </a:r>
          </a:p>
          <a:p>
            <a:pPr algn="ctr">
              <a:defRPr/>
            </a:pPr>
            <a:r>
              <a:rPr lang="fr-FR" sz="800" dirty="0" smtClean="0"/>
              <a:t> 95220 HERBLAY</a:t>
            </a:r>
            <a:endParaRPr lang="fr-FR" sz="800" dirty="0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3896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Arial" charset="0"/>
              </a:defRPr>
            </a:lvl1pPr>
          </a:lstStyle>
          <a:p>
            <a:fld id="{F8A22C28-2E41-8349-AB9D-CE900EF092C8}" type="slidenum">
              <a:rPr lang="fr-FR"/>
              <a:pPr/>
              <a:t>‹N°›</a:t>
            </a:fld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73FF6825-262B-4C16-A3D9-7613A8F7DE2F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Assemblée Générale Ordinaire - 24 11 2016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timing>
    <p:tnLst>
      <p:par>
        <p:cTn id="1" dur="indefinite" restart="never" nodeType="tmRoot"/>
      </p:par>
    </p:tnLst>
  </p:timing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28" name="Object 1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999" name="think-cell Slide" r:id="rId24" imgW="360" imgH="360" progId="">
              <p:embed/>
            </p:oleObj>
          </a:graphicData>
        </a:graphic>
      </p:graphicFrame>
      <p:sp>
        <p:nvSpPr>
          <p:cNvPr id="34826" name="Rectangle 10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16013" y="1924050"/>
            <a:ext cx="7375525" cy="32337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br>
              <a:rPr lang="fr-FR"/>
            </a:br>
            <a:r>
              <a:rPr lang="fr-FR"/>
              <a:t/>
            </a:r>
            <a:br>
              <a:rPr lang="fr-FR"/>
            </a:br>
            <a:endParaRPr lang="fr-FR"/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800"/>
              <a:t> </a:t>
            </a:r>
          </a:p>
        </p:txBody>
      </p:sp>
      <p:pic>
        <p:nvPicPr>
          <p:cNvPr id="34819" name="Image 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31175" y="6524625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ag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age 7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45172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fld id="{41556B01-E030-8F4C-8743-8C9CBC617DA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1FA63417-9A79-46F5-BC7A-FC0EBF0074AD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Assemblée Générale Ordinaire - 24 11 2016</a:t>
            </a:r>
            <a:endParaRPr lang="fr-FR"/>
          </a:p>
        </p:txBody>
      </p:sp>
      <p:sp>
        <p:nvSpPr>
          <p:cNvPr id="34827" name="Rectangle 11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264400" y="307975"/>
            <a:ext cx="7302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#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iming>
    <p:tnLst>
      <p:par>
        <p:cTn id="1" dur="indefinite" restart="never" nodeType="tmRoot"/>
      </p:par>
    </p:tnLst>
  </p:timing>
  <p:hf hdr="0"/>
  <p:txStyles>
    <p:titleStyle>
      <a:lvl1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+mj-lt"/>
          <a:ea typeface="+mj-ea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2pPr>
      <a:lvl3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3pPr>
      <a:lvl4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4pPr>
      <a:lvl5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algn="ctr" rtl="0" fontAlgn="base">
        <a:spcBef>
          <a:spcPct val="20000"/>
        </a:spcBef>
        <a:spcAft>
          <a:spcPct val="0"/>
        </a:spcAft>
        <a:buFont typeface="Arial" charset="0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defRPr sz="2800">
          <a:solidFill>
            <a:schemeClr val="tx1"/>
          </a:solidFill>
          <a:latin typeface="Calibri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Calibri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package" Target="../embeddings/Feuille_Microsoft_Office_Excel1.xlsx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Microsoft_Office_Excel2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package" Target="../embeddings/Feuille_Microsoft_Office_Excel3.xls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package" Target="../embeddings/Diapositive_Microsoft_Office_PowerPoint4.sldx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755650" y="1628775"/>
            <a:ext cx="7772400" cy="100012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cap="none" dirty="0" smtClean="0">
                <a:latin typeface="Arial" charset="0"/>
                <a:cs typeface="Arial" charset="0"/>
              </a:rPr>
              <a:t>Assemblée </a:t>
            </a:r>
            <a:br>
              <a:rPr lang="fr-FR" cap="none" dirty="0" smtClean="0">
                <a:latin typeface="Arial" charset="0"/>
                <a:cs typeface="Arial" charset="0"/>
              </a:rPr>
            </a:br>
            <a:r>
              <a:rPr lang="fr-FR" cap="none" dirty="0" smtClean="0">
                <a:latin typeface="Arial" charset="0"/>
                <a:cs typeface="Arial" charset="0"/>
              </a:rPr>
              <a:t>Générale Ordinaire </a:t>
            </a:r>
            <a:endParaRPr lang="fr-FR" cap="none" dirty="0">
              <a:latin typeface="Arial" charset="0"/>
              <a:cs typeface="Arial" charset="0"/>
            </a:endParaRPr>
          </a:p>
        </p:txBody>
      </p:sp>
      <p:sp>
        <p:nvSpPr>
          <p:cNvPr id="10243" name="Sous-titre 3"/>
          <p:cNvSpPr>
            <a:spLocks noGrp="1"/>
          </p:cNvSpPr>
          <p:nvPr>
            <p:ph type="subTitle" idx="1"/>
          </p:nvPr>
        </p:nvSpPr>
        <p:spPr bwMode="auto">
          <a:xfrm>
            <a:off x="2127250" y="2781300"/>
            <a:ext cx="6400800" cy="107156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dirty="0" smtClean="0">
                <a:latin typeface="Arial" charset="0"/>
                <a:cs typeface="Arial" charset="0"/>
              </a:rPr>
              <a:t>24 Novembre 2016</a:t>
            </a:r>
          </a:p>
        </p:txBody>
      </p:sp>
      <p:pic>
        <p:nvPicPr>
          <p:cNvPr id="4" name="Picture 1" descr="C:\Users\philippe\OneDrive\Documents\AG du 24 novembre V1 201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8745" y="239904"/>
            <a:ext cx="4357155" cy="6163334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>
          <a:xfrm>
            <a:off x="2544792" y="3838755"/>
            <a:ext cx="45719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035170" y="3579962"/>
            <a:ext cx="3148641" cy="370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69600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lan d’ACTION Fonctionnement Généra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graphicFrame>
        <p:nvGraphicFramePr>
          <p:cNvPr id="8" name="Diagramme 7"/>
          <p:cNvGraphicFramePr/>
          <p:nvPr/>
        </p:nvGraphicFramePr>
        <p:xfrm>
          <a:off x="618226" y="1396999"/>
          <a:ext cx="7369834" cy="4865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lan d’ACTION BADMINT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graphicFrame>
        <p:nvGraphicFramePr>
          <p:cNvPr id="8" name="Diagramme 7"/>
          <p:cNvGraphicFramePr/>
          <p:nvPr/>
        </p:nvGraphicFramePr>
        <p:xfrm>
          <a:off x="618226" y="1396999"/>
          <a:ext cx="7369834" cy="4865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lan d’ACTION Gymnastique Masculi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graphicFrame>
        <p:nvGraphicFramePr>
          <p:cNvPr id="8" name="Diagramme 7"/>
          <p:cNvGraphicFramePr/>
          <p:nvPr/>
        </p:nvGraphicFramePr>
        <p:xfrm>
          <a:off x="618226" y="1396999"/>
          <a:ext cx="7369834" cy="4865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ilan 2015 - 2016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526212" y="836283"/>
          <a:ext cx="7841411" cy="54472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046453"/>
                <a:gridCol w="1495195"/>
                <a:gridCol w="1299763"/>
              </a:tblGrid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Sujet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pprécia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endance</a:t>
                      </a:r>
                      <a:r>
                        <a:rPr lang="fr-FR" baseline="0" dirty="0" smtClean="0"/>
                        <a:t> </a:t>
                      </a:r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Mobilisation</a:t>
                      </a:r>
                      <a:r>
                        <a:rPr lang="fr-FR" baseline="0" dirty="0" smtClean="0"/>
                        <a:t> du CA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Organisation</a:t>
                      </a:r>
                      <a:r>
                        <a:rPr lang="fr-FR" baseline="0" dirty="0" smtClean="0"/>
                        <a:t> et structuration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Refonte du</a:t>
                      </a:r>
                      <a:r>
                        <a:rPr lang="fr-FR" baseline="0" dirty="0" smtClean="0"/>
                        <a:t> site herblaisienne.fr et page </a:t>
                      </a:r>
                      <a:r>
                        <a:rPr lang="fr-FR" baseline="0" dirty="0" err="1" smtClean="0"/>
                        <a:t>Facebook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Installation pour le Badminton</a:t>
                      </a:r>
                      <a:r>
                        <a:rPr lang="fr-FR" baseline="0" dirty="0" smtClean="0"/>
                        <a:t> aux </a:t>
                      </a:r>
                      <a:r>
                        <a:rPr lang="fr-FR" baseline="0" dirty="0" err="1" smtClean="0"/>
                        <a:t>Beauregard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Installation pour la Gymnastique</a:t>
                      </a:r>
                      <a:r>
                        <a:rPr lang="fr-FR" baseline="0" dirty="0" smtClean="0"/>
                        <a:t> Masculine aux Fontain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Place</a:t>
                      </a:r>
                      <a:r>
                        <a:rPr lang="fr-FR" baseline="0" dirty="0" smtClean="0"/>
                        <a:t> de la Gymnastique Masculine à HERBLAY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Gymnastique</a:t>
                      </a:r>
                      <a:r>
                        <a:rPr lang="fr-FR" baseline="0" dirty="0" smtClean="0"/>
                        <a:t> pour les 3- 5 an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9</a:t>
                      </a:r>
                      <a:r>
                        <a:rPr lang="fr-FR" baseline="30000" dirty="0" smtClean="0"/>
                        <a:t>ème</a:t>
                      </a:r>
                      <a:r>
                        <a:rPr lang="fr-FR" dirty="0" smtClean="0"/>
                        <a:t> tournoi des Mousquetair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Renfort de l’encadrement pour 20162017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6" descr="Symbole de couleur pastel pour illustration vectorielle ciel partiellement nuageux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72886" y="1367129"/>
            <a:ext cx="643572" cy="512666"/>
          </a:xfrm>
          <a:prstGeom prst="rect">
            <a:avLst/>
          </a:prstGeom>
          <a:noFill/>
        </p:spPr>
      </p:pic>
      <p:pic>
        <p:nvPicPr>
          <p:cNvPr id="10" name="Picture 10" descr="Icône de temps de tempêt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41916" y="4067172"/>
            <a:ext cx="522784" cy="522784"/>
          </a:xfrm>
          <a:prstGeom prst="rect">
            <a:avLst/>
          </a:prstGeom>
          <a:noFill/>
        </p:spPr>
      </p:pic>
      <p:sp>
        <p:nvSpPr>
          <p:cNvPr id="12" name="AutoShape 17"/>
          <p:cNvSpPr>
            <a:spLocks noChangeArrowheads="1"/>
          </p:cNvSpPr>
          <p:nvPr/>
        </p:nvSpPr>
        <p:spPr bwMode="auto">
          <a:xfrm rot="1577755">
            <a:off x="7586117" y="3625994"/>
            <a:ext cx="385849" cy="343503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sp>
        <p:nvSpPr>
          <p:cNvPr id="13" name="AutoShape 17"/>
          <p:cNvSpPr>
            <a:spLocks noChangeArrowheads="1"/>
          </p:cNvSpPr>
          <p:nvPr/>
        </p:nvSpPr>
        <p:spPr bwMode="auto">
          <a:xfrm>
            <a:off x="7482649" y="1530148"/>
            <a:ext cx="410519" cy="307322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sp>
        <p:nvSpPr>
          <p:cNvPr id="15" name="AutoShape 17"/>
          <p:cNvSpPr>
            <a:spLocks noChangeArrowheads="1"/>
          </p:cNvSpPr>
          <p:nvPr/>
        </p:nvSpPr>
        <p:spPr bwMode="auto">
          <a:xfrm>
            <a:off x="7479776" y="1958597"/>
            <a:ext cx="410519" cy="307322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sp>
        <p:nvSpPr>
          <p:cNvPr id="20" name="AutoShape 17"/>
          <p:cNvSpPr>
            <a:spLocks noChangeArrowheads="1"/>
          </p:cNvSpPr>
          <p:nvPr/>
        </p:nvSpPr>
        <p:spPr bwMode="auto">
          <a:xfrm rot="18833211">
            <a:off x="7546803" y="2495715"/>
            <a:ext cx="320214" cy="370045"/>
          </a:xfrm>
          <a:prstGeom prst="rightArrow">
            <a:avLst>
              <a:gd name="adj1" fmla="val 50000"/>
              <a:gd name="adj2" fmla="val 33059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sp>
        <p:nvSpPr>
          <p:cNvPr id="22" name="AutoShape 17"/>
          <p:cNvSpPr>
            <a:spLocks noChangeArrowheads="1"/>
          </p:cNvSpPr>
          <p:nvPr/>
        </p:nvSpPr>
        <p:spPr bwMode="auto">
          <a:xfrm>
            <a:off x="7554542" y="3033972"/>
            <a:ext cx="410519" cy="307322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pic>
        <p:nvPicPr>
          <p:cNvPr id="23" name="Picture 8" descr="Icône météo couleur pour illustration vectorielle de plui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64893" y="3475848"/>
            <a:ext cx="456675" cy="484978"/>
          </a:xfrm>
          <a:prstGeom prst="rect">
            <a:avLst/>
          </a:prstGeom>
          <a:noFill/>
        </p:spPr>
      </p:pic>
      <p:sp>
        <p:nvSpPr>
          <p:cNvPr id="24" name="AutoShape 17"/>
          <p:cNvSpPr>
            <a:spLocks noChangeArrowheads="1"/>
          </p:cNvSpPr>
          <p:nvPr/>
        </p:nvSpPr>
        <p:spPr bwMode="auto">
          <a:xfrm rot="1577755">
            <a:off x="7591869" y="4175209"/>
            <a:ext cx="385849" cy="343503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pic>
        <p:nvPicPr>
          <p:cNvPr id="25" name="Picture 10" descr="Icône de temps de tempêt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56294" y="4607760"/>
            <a:ext cx="522784" cy="522784"/>
          </a:xfrm>
          <a:prstGeom prst="rect">
            <a:avLst/>
          </a:prstGeom>
          <a:noFill/>
        </p:spPr>
      </p:pic>
      <p:sp>
        <p:nvSpPr>
          <p:cNvPr id="26" name="AutoShape 17"/>
          <p:cNvSpPr>
            <a:spLocks noChangeArrowheads="1"/>
          </p:cNvSpPr>
          <p:nvPr/>
        </p:nvSpPr>
        <p:spPr bwMode="auto">
          <a:xfrm rot="1577755">
            <a:off x="7614879" y="4672647"/>
            <a:ext cx="385849" cy="343503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pic>
        <p:nvPicPr>
          <p:cNvPr id="27" name="Picture 4" descr="Dessin vectoriel de plein solei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28950" y="1904849"/>
            <a:ext cx="500095" cy="476091"/>
          </a:xfrm>
          <a:prstGeom prst="rect">
            <a:avLst/>
          </a:prstGeom>
          <a:noFill/>
        </p:spPr>
      </p:pic>
      <p:pic>
        <p:nvPicPr>
          <p:cNvPr id="28" name="Picture 4" descr="Dessin vectoriel de plein solei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51954" y="2393683"/>
            <a:ext cx="500095" cy="476091"/>
          </a:xfrm>
          <a:prstGeom prst="rect">
            <a:avLst/>
          </a:prstGeom>
          <a:noFill/>
        </p:spPr>
      </p:pic>
      <p:pic>
        <p:nvPicPr>
          <p:cNvPr id="29" name="Picture 4" descr="Dessin vectoriel de plein solei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66332" y="2899765"/>
            <a:ext cx="500095" cy="476091"/>
          </a:xfrm>
          <a:prstGeom prst="rect">
            <a:avLst/>
          </a:prstGeom>
          <a:noFill/>
        </p:spPr>
      </p:pic>
      <p:pic>
        <p:nvPicPr>
          <p:cNvPr id="30" name="Picture 4" descr="Dessin vectoriel de plein solei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37576" y="5113850"/>
            <a:ext cx="500095" cy="476091"/>
          </a:xfrm>
          <a:prstGeom prst="rect">
            <a:avLst/>
          </a:prstGeom>
          <a:noFill/>
        </p:spPr>
      </p:pic>
      <p:sp>
        <p:nvSpPr>
          <p:cNvPr id="31" name="AutoShape 17"/>
          <p:cNvSpPr>
            <a:spLocks noChangeArrowheads="1"/>
          </p:cNvSpPr>
          <p:nvPr/>
        </p:nvSpPr>
        <p:spPr bwMode="auto">
          <a:xfrm rot="18833211">
            <a:off x="7612934" y="5184263"/>
            <a:ext cx="320214" cy="370045"/>
          </a:xfrm>
          <a:prstGeom prst="rightArrow">
            <a:avLst>
              <a:gd name="adj1" fmla="val 50000"/>
              <a:gd name="adj2" fmla="val 33059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pic>
        <p:nvPicPr>
          <p:cNvPr id="34" name="Picture 4" descr="Dessin vectoriel de plein solei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26074" y="5680319"/>
            <a:ext cx="500095" cy="476091"/>
          </a:xfrm>
          <a:prstGeom prst="rect">
            <a:avLst/>
          </a:prstGeom>
          <a:noFill/>
        </p:spPr>
      </p:pic>
      <p:sp>
        <p:nvSpPr>
          <p:cNvPr id="35" name="AutoShape 17"/>
          <p:cNvSpPr>
            <a:spLocks noChangeArrowheads="1"/>
          </p:cNvSpPr>
          <p:nvPr/>
        </p:nvSpPr>
        <p:spPr bwMode="auto">
          <a:xfrm rot="18833211">
            <a:off x="7592807" y="5707595"/>
            <a:ext cx="320214" cy="370045"/>
          </a:xfrm>
          <a:prstGeom prst="rightArrow">
            <a:avLst>
              <a:gd name="adj1" fmla="val 50000"/>
              <a:gd name="adj2" fmla="val 33059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ilan 2015 - 2016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431320" y="1431505"/>
          <a:ext cx="7841411" cy="32444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046453"/>
                <a:gridCol w="1495195"/>
                <a:gridCol w="1299763"/>
              </a:tblGrid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Sujet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pprécia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endance</a:t>
                      </a:r>
                      <a:r>
                        <a:rPr lang="fr-FR" baseline="0" dirty="0" smtClean="0"/>
                        <a:t> </a:t>
                      </a:r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Résultats sporti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3 élus au Comité Départemental de 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Une gestion saine de l’Associa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r>
                        <a:rPr lang="fr-FR" dirty="0" smtClean="0"/>
                        <a:t>Un</a:t>
                      </a:r>
                      <a:r>
                        <a:rPr lang="fr-FR" baseline="0" dirty="0" smtClean="0"/>
                        <a:t> fort taux de satisfaction des adhérents qui ont du plaisir à pratiquer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520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Un</a:t>
                      </a:r>
                      <a:r>
                        <a:rPr lang="fr-FR" baseline="0" dirty="0" smtClean="0"/>
                        <a:t> projet clair pour les années à venir</a:t>
                      </a:r>
                      <a:endParaRPr lang="fr-FR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6" descr="Symbole de couleur pastel pour illustration vectorielle ciel partiellement nuageux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77997" y="1910546"/>
            <a:ext cx="643572" cy="512666"/>
          </a:xfrm>
          <a:prstGeom prst="rect">
            <a:avLst/>
          </a:prstGeom>
          <a:noFill/>
        </p:spPr>
      </p:pic>
      <p:sp>
        <p:nvSpPr>
          <p:cNvPr id="22" name="AutoShape 17"/>
          <p:cNvSpPr>
            <a:spLocks noChangeArrowheads="1"/>
          </p:cNvSpPr>
          <p:nvPr/>
        </p:nvSpPr>
        <p:spPr bwMode="auto">
          <a:xfrm>
            <a:off x="7554544" y="3620532"/>
            <a:ext cx="410519" cy="307322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pic>
        <p:nvPicPr>
          <p:cNvPr id="27" name="Picture 4" descr="Dessin vectoriel de plein solei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68567" y="2500020"/>
            <a:ext cx="500095" cy="476091"/>
          </a:xfrm>
          <a:prstGeom prst="rect">
            <a:avLst/>
          </a:prstGeom>
          <a:noFill/>
        </p:spPr>
      </p:pic>
      <p:pic>
        <p:nvPicPr>
          <p:cNvPr id="28" name="Picture 4" descr="Dessin vectoriel de plein solei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39813" y="3040608"/>
            <a:ext cx="500095" cy="476091"/>
          </a:xfrm>
          <a:prstGeom prst="rect">
            <a:avLst/>
          </a:prstGeom>
          <a:noFill/>
        </p:spPr>
      </p:pic>
      <p:pic>
        <p:nvPicPr>
          <p:cNvPr id="29" name="Picture 4" descr="Dessin vectoriel de plein solei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71444" y="3632957"/>
            <a:ext cx="500095" cy="476091"/>
          </a:xfrm>
          <a:prstGeom prst="rect">
            <a:avLst/>
          </a:prstGeom>
          <a:noFill/>
        </p:spPr>
      </p:pic>
      <p:sp>
        <p:nvSpPr>
          <p:cNvPr id="33" name="AutoShape 17"/>
          <p:cNvSpPr>
            <a:spLocks noChangeArrowheads="1"/>
          </p:cNvSpPr>
          <p:nvPr/>
        </p:nvSpPr>
        <p:spPr bwMode="auto">
          <a:xfrm rot="18833211">
            <a:off x="7515167" y="2067219"/>
            <a:ext cx="320214" cy="370045"/>
          </a:xfrm>
          <a:prstGeom prst="rightArrow">
            <a:avLst>
              <a:gd name="adj1" fmla="val 50000"/>
              <a:gd name="adj2" fmla="val 33059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sp>
        <p:nvSpPr>
          <p:cNvPr id="36" name="AutoShape 17"/>
          <p:cNvSpPr>
            <a:spLocks noChangeArrowheads="1"/>
          </p:cNvSpPr>
          <p:nvPr/>
        </p:nvSpPr>
        <p:spPr bwMode="auto">
          <a:xfrm rot="18833211">
            <a:off x="7529545" y="2642313"/>
            <a:ext cx="320214" cy="370045"/>
          </a:xfrm>
          <a:prstGeom prst="rightArrow">
            <a:avLst>
              <a:gd name="adj1" fmla="val 50000"/>
              <a:gd name="adj2" fmla="val 33059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pic>
        <p:nvPicPr>
          <p:cNvPr id="37" name="Picture 4" descr="Dessin vectoriel de plein solei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94448" y="4182171"/>
            <a:ext cx="500095" cy="476091"/>
          </a:xfrm>
          <a:prstGeom prst="rect">
            <a:avLst/>
          </a:prstGeom>
          <a:noFill/>
        </p:spPr>
      </p:pic>
      <p:sp>
        <p:nvSpPr>
          <p:cNvPr id="38" name="AutoShape 17"/>
          <p:cNvSpPr>
            <a:spLocks noChangeArrowheads="1"/>
          </p:cNvSpPr>
          <p:nvPr/>
        </p:nvSpPr>
        <p:spPr bwMode="auto">
          <a:xfrm>
            <a:off x="7520035" y="3120243"/>
            <a:ext cx="410519" cy="307322"/>
          </a:xfrm>
          <a:prstGeom prst="rightArrow">
            <a:avLst>
              <a:gd name="adj1" fmla="val 50000"/>
              <a:gd name="adj2" fmla="val 33153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  <p:sp>
        <p:nvSpPr>
          <p:cNvPr id="39" name="AutoShape 17"/>
          <p:cNvSpPr>
            <a:spLocks noChangeArrowheads="1"/>
          </p:cNvSpPr>
          <p:nvPr/>
        </p:nvSpPr>
        <p:spPr bwMode="auto">
          <a:xfrm rot="18833211">
            <a:off x="7572676" y="4212322"/>
            <a:ext cx="320214" cy="370045"/>
          </a:xfrm>
          <a:prstGeom prst="rightArrow">
            <a:avLst>
              <a:gd name="adj1" fmla="val 50000"/>
              <a:gd name="adj2" fmla="val 33059"/>
            </a:avLst>
          </a:prstGeom>
          <a:solidFill>
            <a:schemeClr val="folHlink"/>
          </a:solidFill>
          <a:ln w="25400" algn="ctr">
            <a:solidFill>
              <a:srgbClr val="008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fr-FR"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 Sélective du 95 le 14 février 2016</a:t>
            </a:r>
          </a:p>
          <a:p>
            <a:endParaRPr lang="fr-FR" dirty="0" smtClean="0"/>
          </a:p>
          <a:p>
            <a:r>
              <a:rPr lang="fr-FR" dirty="0" smtClean="0"/>
              <a:t>Sélective du 92 à Puteaux 13 mars 2016</a:t>
            </a:r>
          </a:p>
          <a:p>
            <a:endParaRPr lang="fr-FR" dirty="0" smtClean="0"/>
          </a:p>
          <a:p>
            <a:r>
              <a:rPr lang="fr-FR" dirty="0" smtClean="0"/>
              <a:t>Compétition Zone Equipe à Ermont les 09 et 10 avril 2016</a:t>
            </a:r>
          </a:p>
          <a:p>
            <a:endParaRPr lang="fr-FR" dirty="0" smtClean="0"/>
          </a:p>
          <a:p>
            <a:r>
              <a:rPr lang="fr-FR" dirty="0" smtClean="0"/>
              <a:t>Finales Région, niveau Fédéral à St Maur des fossés le 22 mai 2016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SULTATS 2015 – 2016 de gymnastique </a:t>
            </a:r>
            <a:br>
              <a:rPr lang="fr-FR" dirty="0" smtClean="0"/>
            </a:br>
            <a:r>
              <a:rPr lang="fr-FR" dirty="0" smtClean="0"/>
              <a:t>masculi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95536" y="1179651"/>
            <a:ext cx="8424936" cy="3802744"/>
          </a:xfrm>
        </p:spPr>
        <p:txBody>
          <a:bodyPr/>
          <a:lstStyle/>
          <a:p>
            <a:r>
              <a:rPr lang="fr-FR" dirty="0" smtClean="0"/>
              <a:t> JEUNES </a:t>
            </a:r>
          </a:p>
          <a:p>
            <a:pPr lvl="1"/>
            <a:r>
              <a:rPr lang="fr-FR" dirty="0" smtClean="0"/>
              <a:t>Une quinzaine de participants en moyenne à chaque trophée départemental Jeunes</a:t>
            </a:r>
          </a:p>
          <a:p>
            <a:pPr lvl="1"/>
            <a:r>
              <a:rPr lang="fr-FR" dirty="0" smtClean="0"/>
              <a:t>Quelques participants aux regroupements départementaux poussins</a:t>
            </a:r>
          </a:p>
          <a:p>
            <a:pPr lvl="1"/>
            <a:r>
              <a:rPr lang="fr-FR" dirty="0" smtClean="0"/>
              <a:t>Des résultats en progrès tout au long de la saison et de bonnes perspectives pour 2016-2017</a:t>
            </a:r>
          </a:p>
          <a:p>
            <a:pPr lvl="1"/>
            <a:endParaRPr lang="fr-FR" dirty="0" smtClean="0"/>
          </a:p>
          <a:p>
            <a:r>
              <a:rPr lang="fr-FR" dirty="0" smtClean="0"/>
              <a:t>SENIORS</a:t>
            </a:r>
          </a:p>
          <a:p>
            <a:pPr lvl="1"/>
            <a:r>
              <a:rPr lang="fr-FR" dirty="0" smtClean="0"/>
              <a:t>1 équipe Mixte et 2 équipes masculines</a:t>
            </a:r>
          </a:p>
          <a:p>
            <a:pPr lvl="1"/>
            <a:r>
              <a:rPr lang="fr-FR" dirty="0" smtClean="0"/>
              <a:t>Une bonne ambiance dans les équipes</a:t>
            </a:r>
          </a:p>
          <a:p>
            <a:pPr lvl="1"/>
            <a:r>
              <a:rPr lang="fr-FR" dirty="0" smtClean="0"/>
              <a:t>Après un début de championnat difficile, de biens meilleurs résultats durant les matchs retours, ce qui est de bonne augure pour 2016-2017.</a:t>
            </a:r>
          </a:p>
          <a:p>
            <a:pPr lvl="1"/>
            <a:endParaRPr lang="fr-FR" dirty="0" smtClean="0"/>
          </a:p>
          <a:p>
            <a:r>
              <a:rPr lang="fr-FR" dirty="0" smtClean="0"/>
              <a:t>Vétérans</a:t>
            </a:r>
          </a:p>
          <a:p>
            <a:pPr lvl="1"/>
            <a:r>
              <a:rPr lang="fr-FR" dirty="0" smtClean="0"/>
              <a:t>Pour la 3</a:t>
            </a:r>
            <a:r>
              <a:rPr lang="fr-FR" baseline="30000" dirty="0" smtClean="0"/>
              <a:t>ème</a:t>
            </a:r>
            <a:r>
              <a:rPr lang="fr-FR" dirty="0" smtClean="0"/>
              <a:t> année, 1er ex-æquo avec notre bête noire ERMONT,  mais au jeu de la différence de matchs gagnés c'est ERMONT qui passe devant.</a:t>
            </a:r>
          </a:p>
          <a:p>
            <a:pPr lvl="1"/>
            <a:r>
              <a:rPr lang="fr-FR" dirty="0" smtClean="0"/>
              <a:t> Un grand merci aux filles pour qui cela n'a pas été facile.</a:t>
            </a:r>
          </a:p>
          <a:p>
            <a:pPr lvl="1"/>
            <a:r>
              <a:rPr lang="fr-FR" dirty="0" smtClean="0"/>
              <a:t>Les matches ont toujours été très disputés, tout en restant dans la joie et la bonne humeur</a:t>
            </a:r>
            <a:br>
              <a:rPr lang="fr-FR" dirty="0" smtClean="0"/>
            </a:br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SULTATS 2015 – 2016 de BADMINT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>
          <a:xfrm>
            <a:off x="594414" y="6395229"/>
            <a:ext cx="5400675" cy="217488"/>
          </a:xfrm>
        </p:spPr>
        <p:txBody>
          <a:bodyPr/>
          <a:lstStyle/>
          <a:p>
            <a:r>
              <a:rPr lang="fr-FR" dirty="0" smtClean="0"/>
              <a:t>Assemblée Générale Ordinaire - 24 11 2016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 smtClean="0"/>
              <a:t>QUESTIONS SUR LE RAPPORT </a:t>
            </a:r>
          </a:p>
          <a:p>
            <a:pPr>
              <a:buNone/>
            </a:pPr>
            <a:r>
              <a:rPr lang="fr-FR" sz="2800" dirty="0" smtClean="0"/>
              <a:t>             MORAL DU PRESIDENT ?</a:t>
            </a:r>
          </a:p>
          <a:p>
            <a:endParaRPr lang="fr-FR" sz="2800" dirty="0" smtClean="0"/>
          </a:p>
          <a:p>
            <a:endParaRPr lang="fr-FR" sz="2800" dirty="0" smtClean="0"/>
          </a:p>
          <a:p>
            <a:r>
              <a:rPr lang="fr-FR" sz="2800" dirty="0" smtClean="0"/>
              <a:t>APPROBATION 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YNTHESE 2015 - 2016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18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912142" y="1946812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DEPENSES 2015 -2016 </a:t>
            </a:r>
            <a:br>
              <a:rPr lang="fr-FR" dirty="0" smtClean="0"/>
            </a:br>
            <a:r>
              <a:rPr lang="fr-FR" dirty="0" smtClean="0"/>
              <a:t>          Budget : </a:t>
            </a:r>
            <a:r>
              <a:rPr lang="fr-FR" dirty="0" smtClean="0">
                <a:solidFill>
                  <a:srgbClr val="FF0000"/>
                </a:solidFill>
              </a:rPr>
              <a:t>65 755 €  </a:t>
            </a:r>
            <a:r>
              <a:rPr lang="fr-FR" dirty="0" smtClean="0">
                <a:solidFill>
                  <a:schemeClr val="tx1"/>
                </a:solidFill>
              </a:rPr>
              <a:t>REALISEES : </a:t>
            </a:r>
            <a:r>
              <a:rPr lang="fr-FR" dirty="0" smtClean="0">
                <a:solidFill>
                  <a:srgbClr val="FF0000"/>
                </a:solidFill>
              </a:rPr>
              <a:t>67 953,80 €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6349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3392" y="1173192"/>
            <a:ext cx="4719643" cy="236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3494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9048" y="3830128"/>
            <a:ext cx="4728235" cy="248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3495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49329" y="1951397"/>
            <a:ext cx="3608411" cy="3345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ZoneTexte 13"/>
          <p:cNvSpPr txBox="1"/>
          <p:nvPr/>
        </p:nvSpPr>
        <p:spPr>
          <a:xfrm>
            <a:off x="5693434" y="5529532"/>
            <a:ext cx="3053751" cy="83099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Résultat 2015-2016</a:t>
            </a:r>
          </a:p>
          <a:p>
            <a:pPr algn="ctr"/>
            <a:r>
              <a:rPr lang="fr-FR" dirty="0" smtClean="0"/>
              <a:t>+ 702,20 €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2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575712" y="1282578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ES RECETTES 2015 – 2016</a:t>
            </a:r>
            <a:br>
              <a:rPr lang="fr-FR" dirty="0" smtClean="0"/>
            </a:br>
            <a:r>
              <a:rPr lang="fr-FR" dirty="0" smtClean="0"/>
              <a:t> Budget : </a:t>
            </a:r>
            <a:r>
              <a:rPr lang="fr-FR" dirty="0" smtClean="0">
                <a:solidFill>
                  <a:srgbClr val="FF0000"/>
                </a:solidFill>
              </a:rPr>
              <a:t>65 755 €  </a:t>
            </a:r>
            <a:r>
              <a:rPr lang="fr-FR" dirty="0" smtClean="0">
                <a:solidFill>
                  <a:schemeClr val="tx1"/>
                </a:solidFill>
              </a:rPr>
              <a:t>REALISEES : </a:t>
            </a:r>
            <a:r>
              <a:rPr lang="fr-FR" dirty="0" smtClean="0">
                <a:solidFill>
                  <a:srgbClr val="FF0000"/>
                </a:solidFill>
              </a:rPr>
              <a:t>68 656 €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3635" y="1054250"/>
            <a:ext cx="3954463" cy="276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51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9221" y="4037161"/>
            <a:ext cx="3988942" cy="2387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518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92210" y="1425187"/>
            <a:ext cx="3763602" cy="350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 smtClean="0"/>
              <a:t>QUESTIONS SUR LE RAPPORT </a:t>
            </a:r>
          </a:p>
          <a:p>
            <a:pPr>
              <a:buNone/>
            </a:pPr>
            <a:r>
              <a:rPr lang="fr-FR" sz="2800" dirty="0" smtClean="0"/>
              <a:t>             FINANCIER 2015 - 2016?</a:t>
            </a:r>
          </a:p>
          <a:p>
            <a:endParaRPr lang="fr-FR" sz="2800" dirty="0" smtClean="0"/>
          </a:p>
          <a:p>
            <a:endParaRPr lang="fr-FR" sz="2800" dirty="0" smtClean="0"/>
          </a:p>
          <a:p>
            <a:r>
              <a:rPr lang="fr-FR" sz="2800" dirty="0" smtClean="0"/>
              <a:t>APPROBATION DES COMPTES 2015-2016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apport financier 2015 - 2016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22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119176" y="2533408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sp>
        <p:nvSpPr>
          <p:cNvPr id="7" name="Espace réservé du contenu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2000" dirty="0" smtClean="0"/>
              <a:t>Le Conseil d’Administration est composé de 12 membres élus pour 3 ans, renouvelables par 1/3 tous les ans.</a:t>
            </a:r>
            <a:endParaRPr lang="fr-FR" sz="20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57620" y="1367018"/>
            <a:ext cx="1626017" cy="121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4" descr="Pierre Goffine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5852" y="1509894"/>
            <a:ext cx="1071870" cy="1432620"/>
          </a:xfrm>
          <a:prstGeom prst="rect">
            <a:avLst/>
          </a:prstGeom>
          <a:noFill/>
        </p:spPr>
      </p:pic>
      <p:pic>
        <p:nvPicPr>
          <p:cNvPr id="10" name="Picture 6" descr="http://www.lherblaisienne.fr/media/uploaded/membre/crop_57698dae4ceac_DSC0267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58016" y="1438456"/>
            <a:ext cx="2114323" cy="1339072"/>
          </a:xfrm>
          <a:prstGeom prst="rect">
            <a:avLst/>
          </a:prstGeom>
          <a:noFill/>
        </p:spPr>
      </p:pic>
      <p:pic>
        <p:nvPicPr>
          <p:cNvPr id="11" name="Picture 8" descr="http://www.lherblaisienne.fr/media/uploaded/membre/crop_56be1d00627fa_AlainC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57224" y="3867348"/>
            <a:ext cx="2114323" cy="1339072"/>
          </a:xfrm>
          <a:prstGeom prst="rect">
            <a:avLst/>
          </a:prstGeom>
          <a:noFill/>
        </p:spPr>
      </p:pic>
      <p:pic>
        <p:nvPicPr>
          <p:cNvPr id="12" name="Picture 10" descr="Aliénor  Faure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86182" y="3653034"/>
            <a:ext cx="2114323" cy="1339072"/>
          </a:xfrm>
          <a:prstGeom prst="rect">
            <a:avLst/>
          </a:prstGeom>
          <a:noFill/>
        </p:spPr>
      </p:pic>
      <p:pic>
        <p:nvPicPr>
          <p:cNvPr id="13" name="Picture 12" descr="Valérie  Gerboin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973309" y="3885598"/>
            <a:ext cx="2114323" cy="1339072"/>
          </a:xfrm>
          <a:prstGeom prst="rect">
            <a:avLst/>
          </a:prstGeom>
          <a:noFill/>
        </p:spPr>
      </p:pic>
      <p:sp>
        <p:nvSpPr>
          <p:cNvPr id="14" name="ZoneTexte 13"/>
          <p:cNvSpPr txBox="1"/>
          <p:nvPr/>
        </p:nvSpPr>
        <p:spPr>
          <a:xfrm>
            <a:off x="3714744" y="2724340"/>
            <a:ext cx="200026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Philippe CERISIER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Président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8</a:t>
            </a:r>
          </a:p>
          <a:p>
            <a:pPr algn="ctr"/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71472" y="3010092"/>
            <a:ext cx="292895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Pierre GOFFINET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Vice Président Badminton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7</a:t>
            </a:r>
            <a:endParaRPr lang="fr-FR" sz="1600" b="1" dirty="0" smtClean="0">
              <a:solidFill>
                <a:srgbClr val="FF0000"/>
              </a:solidFill>
            </a:endParaRPr>
          </a:p>
          <a:p>
            <a:pPr algn="ctr"/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6572264" y="2724340"/>
            <a:ext cx="25717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Isabelle MALABA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Vice Présidente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Gymnastique Masculine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e jusqu’en 2018</a:t>
            </a:r>
          </a:p>
          <a:p>
            <a:pPr algn="ctr"/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85786" y="5296108"/>
            <a:ext cx="235745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Alain Cathelin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Trésorier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7</a:t>
            </a:r>
            <a:endParaRPr lang="fr-FR" sz="1600" b="1" dirty="0" smtClean="0">
              <a:solidFill>
                <a:srgbClr val="FF0000"/>
              </a:solidFill>
            </a:endParaRPr>
          </a:p>
          <a:p>
            <a:pPr algn="ctr"/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3500430" y="5296109"/>
            <a:ext cx="3143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Aliénor FAURE 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Trésorier Adjoint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e jusqu’en 2016</a:t>
            </a:r>
            <a:endParaRPr lang="fr-FR" sz="1200" b="1" dirty="0">
              <a:solidFill>
                <a:srgbClr val="FF0000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929454" y="5296108"/>
            <a:ext cx="207170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Valérie GERBOIN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Secrétaire 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Démission en septembre 2016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e jusqu’en 2016</a:t>
            </a:r>
          </a:p>
          <a:p>
            <a:pPr algn="ctr"/>
            <a:endParaRPr lang="fr-FR" sz="16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conseil d’Administration actu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14" descr="Laurent Bricou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4257" y="1442791"/>
            <a:ext cx="1937546" cy="1227113"/>
          </a:xfrm>
          <a:prstGeom prst="rect">
            <a:avLst/>
          </a:prstGeom>
          <a:noFill/>
        </p:spPr>
      </p:pic>
      <p:pic>
        <p:nvPicPr>
          <p:cNvPr id="8" name="Picture 16" descr="Christophe  Froment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85376" y="1423113"/>
            <a:ext cx="1937546" cy="1227113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9" name="Picture 2" descr="Alain Gourinel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46073" y="3620282"/>
            <a:ext cx="1954291" cy="12377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4" descr="http://www.lherblaisienne.fr/media/uploaded/membre/crop_57698ecd19239_SandrineL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747552" y="1037074"/>
            <a:ext cx="2009307" cy="1272562"/>
          </a:xfrm>
          <a:prstGeom prst="rect">
            <a:avLst/>
          </a:prstGeom>
          <a:noFill/>
        </p:spPr>
      </p:pic>
      <p:pic>
        <p:nvPicPr>
          <p:cNvPr id="11" name="Picture 8" descr="http://www.lherblaisienne.fr/media/uploaded/membre/56be1d95e5f94_PAscalP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83409" y="3709548"/>
            <a:ext cx="1154104" cy="1408907"/>
          </a:xfrm>
          <a:prstGeom prst="rect">
            <a:avLst/>
          </a:prstGeom>
          <a:noFill/>
        </p:spPr>
      </p:pic>
      <p:sp>
        <p:nvSpPr>
          <p:cNvPr id="12" name="ZoneTexte 11"/>
          <p:cNvSpPr txBox="1"/>
          <p:nvPr/>
        </p:nvSpPr>
        <p:spPr>
          <a:xfrm>
            <a:off x="819905" y="2829463"/>
            <a:ext cx="1882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Laurent BRICOUT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7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821393" y="2463829"/>
            <a:ext cx="188231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Sandrine LORIN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Coptée en mars 201</a:t>
            </a:r>
            <a:r>
              <a:rPr lang="fr-FR" sz="1600" b="1" dirty="0" smtClean="0">
                <a:solidFill>
                  <a:srgbClr val="FF0000"/>
                </a:solidFill>
              </a:rPr>
              <a:t>6</a:t>
            </a:r>
          </a:p>
          <a:p>
            <a:pPr algn="ctr"/>
            <a:endParaRPr lang="fr-FR" sz="1600" b="1" dirty="0" smtClean="0">
              <a:solidFill>
                <a:srgbClr val="FF0000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6405251" y="5226067"/>
            <a:ext cx="228157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Pascal PONTILLON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7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Démission en septembre 2016</a:t>
            </a:r>
          </a:p>
          <a:p>
            <a:pPr algn="ctr"/>
            <a:endParaRPr lang="fr-FR" sz="1600" b="1" dirty="0" smtClean="0">
              <a:solidFill>
                <a:srgbClr val="FF0000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870317" y="4982036"/>
            <a:ext cx="18823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Alain GOURINEL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7</a:t>
            </a:r>
          </a:p>
          <a:p>
            <a:pPr algn="ctr"/>
            <a:endParaRPr lang="fr-FR" sz="1600" b="1" dirty="0" smtClean="0">
              <a:solidFill>
                <a:srgbClr val="FF0000"/>
              </a:solidFill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081411" y="3784280"/>
            <a:ext cx="1141914" cy="130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Rectangle 16"/>
          <p:cNvSpPr/>
          <p:nvPr/>
        </p:nvSpPr>
        <p:spPr>
          <a:xfrm>
            <a:off x="3478298" y="5145699"/>
            <a:ext cx="23386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Jean-Philippe GOUDANT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8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Démission en juillet 2016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6676867" y="2838092"/>
            <a:ext cx="18374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Christophe FROMENT</a:t>
            </a:r>
          </a:p>
          <a:p>
            <a:pPr algn="ctr"/>
            <a:r>
              <a:rPr lang="fr-FR" sz="1200" b="1" dirty="0" smtClean="0">
                <a:solidFill>
                  <a:srgbClr val="FF0000"/>
                </a:solidFill>
              </a:rPr>
              <a:t>Elu jusqu’en 2018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Vote à bulletin secret si au moins une demande </a:t>
            </a:r>
          </a:p>
          <a:p>
            <a:endParaRPr lang="fr-FR" dirty="0" smtClean="0"/>
          </a:p>
          <a:p>
            <a:r>
              <a:rPr lang="fr-FR" dirty="0" smtClean="0"/>
              <a:t>Sinon vote à main levée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NDIDATS pour la PERIODE  2016 - 2019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8" name="Tableau 7"/>
          <p:cNvGraphicFramePr>
            <a:graphicFrameLocks noGrp="1"/>
          </p:cNvGraphicFramePr>
          <p:nvPr/>
        </p:nvGraphicFramePr>
        <p:xfrm>
          <a:off x="1524000" y="1397000"/>
          <a:ext cx="7085163" cy="256146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61721"/>
                <a:gridCol w="3127554"/>
                <a:gridCol w="1595888"/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Nom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Sec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Résultat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Sandrine LORI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Gymnastique Masculine</a:t>
                      </a:r>
                    </a:p>
                    <a:p>
                      <a:r>
                        <a:rPr lang="fr-FR" dirty="0" smtClean="0"/>
                        <a:t>Cooptation</a:t>
                      </a:r>
                      <a:r>
                        <a:rPr lang="fr-FR" baseline="0" dirty="0" smtClean="0"/>
                        <a:t> à confirmer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438022">
                <a:tc>
                  <a:txBody>
                    <a:bodyPr/>
                    <a:lstStyle/>
                    <a:p>
                      <a:r>
                        <a:rPr lang="fr-FR" dirty="0" smtClean="0"/>
                        <a:t>Sébastien</a:t>
                      </a:r>
                      <a:r>
                        <a:rPr lang="fr-FR" baseline="0" dirty="0" smtClean="0"/>
                        <a:t> SOUCHET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Vincent BRUNEE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Aliénor FAUR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Mickael DALENCOURT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mtClean="0"/>
                        <a:t>Badmint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26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145056" y="3128631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42928" y="260648"/>
            <a:ext cx="8395630" cy="785794"/>
          </a:xfrm>
        </p:spPr>
        <p:txBody>
          <a:bodyPr>
            <a:normAutofit fontScale="90000"/>
          </a:bodyPr>
          <a:lstStyle/>
          <a:p>
            <a:pPr lvl="0"/>
            <a:r>
              <a:rPr lang="fr-FR" dirty="0" smtClean="0"/>
              <a:t>Les </a:t>
            </a:r>
            <a:r>
              <a:rPr lang="fr-FR" dirty="0" err="1" smtClean="0"/>
              <a:t>objecTIFS</a:t>
            </a:r>
            <a:r>
              <a:rPr lang="fr-FR" dirty="0" smtClean="0"/>
              <a:t> 2016 – 2017 : Poursuivre le développement lancé en 2016</a:t>
            </a:r>
            <a:br>
              <a:rPr lang="fr-FR" dirty="0" smtClean="0"/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7" name="Diagramme 6"/>
          <p:cNvGraphicFramePr/>
          <p:nvPr/>
        </p:nvGraphicFramePr>
        <p:xfrm>
          <a:off x="845389" y="966159"/>
          <a:ext cx="7289320" cy="5003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sp>
        <p:nvSpPr>
          <p:cNvPr id="7" name="Espace réservé du contenu 7"/>
          <p:cNvSpPr txBox="1">
            <a:spLocks/>
          </p:cNvSpPr>
          <p:nvPr/>
        </p:nvSpPr>
        <p:spPr>
          <a:xfrm>
            <a:off x="1571603" y="4967211"/>
            <a:ext cx="8209483" cy="872491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fr-FR" sz="3200" b="0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ＭＳ Ｐゴシック" charset="0"/>
                <a:cs typeface="ＭＳ Ｐゴシック" charset="0"/>
              </a:rPr>
              <a:t>Prochain Tournoi le 11 juin 2017 au COSEC</a:t>
            </a:r>
            <a:endParaRPr kumimoji="0" lang="fr-FR" sz="3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ＭＳ Ｐゴシック" charset="0"/>
              <a:cs typeface="ＭＳ Ｐゴシック" charset="0"/>
            </a:endParaRPr>
          </a:p>
        </p:txBody>
      </p:sp>
      <p:pic>
        <p:nvPicPr>
          <p:cNvPr id="8" name="Picture 4" descr="http://www.lherblaisienne.fr/media/uploaded/sites/10021/actualite/581f51fcd84c5_Tournoiinterneoctobre2016dguispage00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97479" y="104309"/>
            <a:ext cx="6526358" cy="4614340"/>
          </a:xfrm>
          <a:prstGeom prst="rect">
            <a:avLst/>
          </a:prstGeom>
          <a:noFill/>
        </p:spPr>
      </p:pic>
      <p:sp>
        <p:nvSpPr>
          <p:cNvPr id="9" name="Flèche droite 8"/>
          <p:cNvSpPr/>
          <p:nvPr/>
        </p:nvSpPr>
        <p:spPr>
          <a:xfrm>
            <a:off x="285720" y="5110086"/>
            <a:ext cx="1091614" cy="503513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1" descr="C:\Users\philippe\OneDrive\Pictures\nuit du bad V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9806" y="285728"/>
            <a:ext cx="8264841" cy="584043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F417DC-4DFE-4B26-BEF8-1E687285100D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214282" y="4480888"/>
            <a:ext cx="5429288" cy="1714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/>
          <p:cNvPicPr/>
          <p:nvPr/>
        </p:nvPicPr>
        <p:blipFill>
          <a:blip r:embed="rId2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tretch>
            <a:fillRect/>
          </a:stretch>
        </p:blipFill>
        <p:spPr>
          <a:xfrm>
            <a:off x="5857884" y="285728"/>
            <a:ext cx="2889301" cy="5916664"/>
          </a:xfrm>
          <a:prstGeom prst="rect">
            <a:avLst/>
          </a:prstGeom>
        </p:spPr>
      </p:pic>
      <p:sp>
        <p:nvSpPr>
          <p:cNvPr id="9" name="Espace réservé de la date 3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-414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3"/>
              </a:buBlip>
              <a:tabLst/>
              <a:defRPr/>
            </a:pPr>
            <a:r>
              <a:rPr kumimoji="0" lang="fr-FR" sz="1600" b="1" i="0" u="none" strike="noStrike" kern="1200" cap="none" spc="0" normalizeH="0" baseline="0" noProof="0" smtClean="0">
                <a:ln>
                  <a:noFill/>
                </a:ln>
                <a:solidFill>
                  <a:srgbClr val="463436"/>
                </a:solidFill>
                <a:effectLst/>
                <a:uLnTx/>
                <a:uFillTx/>
                <a:latin typeface="Arial" pitchFamily="34" charset="0"/>
                <a:ea typeface="ＭＳ Ｐゴシック" charset="0"/>
                <a:cs typeface="Arial" pitchFamily="34" charset="0"/>
              </a:rPr>
              <a:t>24/11/2016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463436"/>
              </a:solidFill>
              <a:effectLst/>
              <a:uLnTx/>
              <a:uFillTx/>
              <a:latin typeface="Arial" pitchFamily="34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11" name="Espace réservé du numéro de diapositive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2FD78F-3EEB-4788-82BB-31A32855A147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ＭＳ Ｐゴシック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="" xmlns:wpc="http://schemas.microsoft.com/office/word/2010/wordprocessingCanvas" xmlns:mc="http://schemas.openxmlformats.org/markup-compatibility/2006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0" y="311607"/>
            <a:ext cx="5000628" cy="3857652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3857620" y="2214554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 smtClean="0">
                <a:solidFill>
                  <a:schemeClr val="tx2"/>
                </a:solidFill>
              </a:rPr>
              <a:t>+</a:t>
            </a:r>
            <a:endParaRPr lang="fr-FR" sz="9600" dirty="0">
              <a:solidFill>
                <a:schemeClr val="tx2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14281" y="4567148"/>
            <a:ext cx="55481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</a:rPr>
              <a:t>Assemblée Générale</a:t>
            </a:r>
          </a:p>
          <a:p>
            <a:pPr>
              <a:buFont typeface="Wingdings" pitchFamily="2" charset="2"/>
              <a:buChar char="Ø"/>
            </a:pPr>
            <a:r>
              <a:rPr lang="fr-FR" sz="1600" dirty="0" smtClean="0"/>
              <a:t>Le rendez-vous annuel important pour valider ce qui a été fait et construire l’avenir.</a:t>
            </a:r>
          </a:p>
          <a:p>
            <a:pPr>
              <a:buFont typeface="Wingdings" pitchFamily="2" charset="2"/>
              <a:buChar char="Ø"/>
            </a:pPr>
            <a:r>
              <a:rPr lang="fr-FR" sz="1600" dirty="0"/>
              <a:t> </a:t>
            </a:r>
            <a:r>
              <a:rPr lang="fr-FR" sz="1600" dirty="0" smtClean="0"/>
              <a:t>Un moment d’échanges et de partages.</a:t>
            </a:r>
            <a:endParaRPr lang="fr-FR" dirty="0"/>
          </a:p>
          <a:p>
            <a:pPr algn="ctr"/>
            <a:r>
              <a:rPr lang="fr-FR" sz="1800" b="1" dirty="0" smtClean="0">
                <a:solidFill>
                  <a:srgbClr val="FF0000"/>
                </a:solidFill>
              </a:rPr>
              <a:t>Merci aux personnes présentes ou représentées</a:t>
            </a:r>
            <a:endParaRPr lang="fr-FR" sz="18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OneDrive\Pictures\10 ème Tournoi des Mousquetaires p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31321" y="534699"/>
            <a:ext cx="8399742" cy="472741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95536" y="1110639"/>
            <a:ext cx="8424936" cy="3802744"/>
          </a:xfrm>
        </p:spPr>
        <p:txBody>
          <a:bodyPr/>
          <a:lstStyle/>
          <a:p>
            <a:r>
              <a:rPr lang="fr-FR" sz="1400" dirty="0" smtClean="0"/>
              <a:t>Les Journées d’Interclubs Séniors : Mixtes et Masculins</a:t>
            </a:r>
          </a:p>
          <a:p>
            <a:pPr lvl="1"/>
            <a:r>
              <a:rPr lang="fr-FR" sz="1400" dirty="0" smtClean="0"/>
              <a:t>7 journées à domicile, le jeudi soir à partir de 20h15</a:t>
            </a:r>
          </a:p>
          <a:p>
            <a:endParaRPr lang="fr-FR" sz="1400" dirty="0" smtClean="0"/>
          </a:p>
          <a:p>
            <a:r>
              <a:rPr lang="fr-FR" sz="1400" dirty="0" smtClean="0"/>
              <a:t>Les Journées d’Interclubs Vétérans</a:t>
            </a:r>
          </a:p>
          <a:p>
            <a:pPr lvl="1"/>
            <a:r>
              <a:rPr lang="fr-FR" sz="1400" b="0" dirty="0" smtClean="0"/>
              <a:t>Objectif : GAGNER avec cette année 9 équipes </a:t>
            </a:r>
          </a:p>
          <a:p>
            <a:pPr lvl="2"/>
            <a:r>
              <a:rPr lang="fr-FR" sz="1200" dirty="0" smtClean="0"/>
              <a:t>ERAGNY, L'entente AGENTEUIL ST GRATIEN, EAUBONNE, 2 équipes de CERGY, 2 équipes d'ERMONT, JOUY LE MOUTIER, MERY et HERBLAY.</a:t>
            </a:r>
          </a:p>
          <a:p>
            <a:pPr lvl="1"/>
            <a:r>
              <a:rPr lang="fr-FR" sz="1400" dirty="0" smtClean="0"/>
              <a:t>3 journées à domicile</a:t>
            </a:r>
          </a:p>
          <a:p>
            <a:pPr lvl="1"/>
            <a:endParaRPr lang="fr-FR" sz="1400" dirty="0" smtClean="0"/>
          </a:p>
          <a:p>
            <a:r>
              <a:rPr lang="fr-FR" sz="1400" dirty="0" smtClean="0"/>
              <a:t>Les journées d’interclubs Jeunes</a:t>
            </a:r>
          </a:p>
          <a:p>
            <a:pPr lvl="1"/>
            <a:r>
              <a:rPr lang="fr-FR" sz="1400" dirty="0" smtClean="0"/>
              <a:t>1</a:t>
            </a:r>
            <a:r>
              <a:rPr lang="fr-FR" sz="1400" baseline="30000" dirty="0" smtClean="0"/>
              <a:t>ère</a:t>
            </a:r>
            <a:r>
              <a:rPr lang="fr-FR" sz="1400" dirty="0" smtClean="0"/>
              <a:t> année où Herblay inscrit des équipes</a:t>
            </a:r>
          </a:p>
          <a:p>
            <a:pPr lvl="1"/>
            <a:r>
              <a:rPr lang="fr-FR" sz="1400" dirty="0" smtClean="0"/>
              <a:t>Les 2 journées de Trophée Départemental Jeunes à Herblay en mars et avril 2017.</a:t>
            </a:r>
          </a:p>
          <a:p>
            <a:pPr lvl="1"/>
            <a:endParaRPr lang="fr-FR" sz="1400" dirty="0" smtClean="0"/>
          </a:p>
          <a:p>
            <a:r>
              <a:rPr lang="fr-FR" sz="1400" dirty="0" smtClean="0"/>
              <a:t>Stages</a:t>
            </a:r>
          </a:p>
          <a:p>
            <a:pPr lvl="1"/>
            <a:r>
              <a:rPr lang="fr-FR" sz="1400" dirty="0" smtClean="0"/>
              <a:t>Succès pour les stages JEUNES durant les vacances de la Toussaint</a:t>
            </a:r>
          </a:p>
          <a:p>
            <a:pPr lvl="1"/>
            <a:r>
              <a:rPr lang="fr-FR" sz="1400" dirty="0" smtClean="0"/>
              <a:t>Stage compétiteurs SENIORS et VETERANS le 26/11</a:t>
            </a:r>
          </a:p>
          <a:p>
            <a:pPr lvl="1"/>
            <a:r>
              <a:rPr lang="fr-FR" sz="1400" dirty="0" smtClean="0"/>
              <a:t>Autres stages à venir</a:t>
            </a:r>
          </a:p>
          <a:p>
            <a:endParaRPr lang="fr-FR" sz="1400" dirty="0" smtClean="0"/>
          </a:p>
          <a:p>
            <a:r>
              <a:rPr lang="fr-FR" sz="1400" dirty="0" smtClean="0"/>
              <a:t>Les compétitions de gymnastique : sélectives départementales à un niveau régional </a:t>
            </a:r>
            <a:endParaRPr lang="fr-FR" sz="1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AUTRES RENDEZ VOUS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32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119176" y="3758359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6656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946" y="579796"/>
            <a:ext cx="4955540" cy="298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6565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24126" y="3650801"/>
            <a:ext cx="4594225" cy="276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ZoneTexte 10"/>
          <p:cNvSpPr txBox="1"/>
          <p:nvPr/>
        </p:nvSpPr>
        <p:spPr>
          <a:xfrm>
            <a:off x="5917722" y="1613140"/>
            <a:ext cx="1708030" cy="46166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69 230 €</a:t>
            </a:r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1325593" y="4484738"/>
            <a:ext cx="1708030" cy="461665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69 230 €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BUDGET 2016-2017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6692" y="898975"/>
            <a:ext cx="4594225" cy="276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553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07205" y="3599043"/>
            <a:ext cx="4594225" cy="276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1095548" y="4468483"/>
            <a:ext cx="1872629" cy="46166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Les Dépenses</a:t>
            </a:r>
            <a:endParaRPr lang="fr-FR" dirty="0"/>
          </a:p>
        </p:txBody>
      </p:sp>
      <p:sp>
        <p:nvSpPr>
          <p:cNvPr id="10" name="Flèche vers le bas 9"/>
          <p:cNvSpPr/>
          <p:nvPr/>
        </p:nvSpPr>
        <p:spPr>
          <a:xfrm flipV="1">
            <a:off x="1794294" y="3778370"/>
            <a:ext cx="508959" cy="534838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/>
          <p:cNvSpPr txBox="1"/>
          <p:nvPr/>
        </p:nvSpPr>
        <p:spPr>
          <a:xfrm>
            <a:off x="5978107" y="2078966"/>
            <a:ext cx="1915064" cy="46166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Les recettes</a:t>
            </a:r>
            <a:endParaRPr lang="fr-FR" dirty="0"/>
          </a:p>
        </p:txBody>
      </p:sp>
      <p:sp>
        <p:nvSpPr>
          <p:cNvPr id="13" name="Flèche vers le bas 12"/>
          <p:cNvSpPr/>
          <p:nvPr/>
        </p:nvSpPr>
        <p:spPr>
          <a:xfrm>
            <a:off x="6780362" y="2717321"/>
            <a:ext cx="457200" cy="569343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 smtClean="0"/>
              <a:t>QUESTIONS SUR LE BUDGET  </a:t>
            </a:r>
          </a:p>
          <a:p>
            <a:pPr>
              <a:buNone/>
            </a:pPr>
            <a:r>
              <a:rPr lang="fr-FR" sz="2800" dirty="0" smtClean="0"/>
              <a:t>                2016 - 2017?</a:t>
            </a:r>
          </a:p>
          <a:p>
            <a:endParaRPr lang="fr-FR" sz="2800" dirty="0" smtClean="0"/>
          </a:p>
          <a:p>
            <a:endParaRPr lang="fr-FR" sz="2800" dirty="0" smtClean="0"/>
          </a:p>
          <a:p>
            <a:r>
              <a:rPr lang="fr-FR" sz="2800" dirty="0" smtClean="0"/>
              <a:t>APPROBATION DU BUDGET 2016-2017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UDGET 2016 - 2017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 smtClean="0"/>
              <a:t>Assemblée Générale Ordinaire - 24 11 2016</a:t>
            </a:r>
            <a:endParaRPr lang="fr-FR" dirty="0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36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903516" y="4353582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 ……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Vous avez la parole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Un grand merci aux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7" name="Diagramme 6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Sourire 7"/>
          <p:cNvSpPr/>
          <p:nvPr/>
        </p:nvSpPr>
        <p:spPr>
          <a:xfrm>
            <a:off x="1216325" y="5710686"/>
            <a:ext cx="914400" cy="914400"/>
          </a:xfrm>
          <a:prstGeom prst="smileyFace">
            <a:avLst/>
          </a:prstGeom>
          <a:solidFill>
            <a:srgbClr val="E41B0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2648310" y="5822831"/>
            <a:ext cx="4641011" cy="83099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BONNE SAISON 2016 -2017</a:t>
            </a:r>
          </a:p>
          <a:p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12789" y="5492858"/>
            <a:ext cx="8424936" cy="3802744"/>
          </a:xfrm>
        </p:spPr>
        <p:txBody>
          <a:bodyPr/>
          <a:lstStyle/>
          <a:p>
            <a:endParaRPr lang="fr-FR" dirty="0" smtClean="0"/>
          </a:p>
          <a:p>
            <a:endParaRPr lang="fr-FR" dirty="0" smtClean="0"/>
          </a:p>
          <a:p>
            <a:r>
              <a:rPr lang="fr-FR" sz="2000" dirty="0" smtClean="0"/>
              <a:t>BONNE SAISON 2016 -2017</a:t>
            </a:r>
            <a:endParaRPr lang="fr-FR" sz="20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Un grand merci aux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8" name="Diagramme 7"/>
          <p:cNvGraphicFramePr/>
          <p:nvPr/>
        </p:nvGraphicFramePr>
        <p:xfrm>
          <a:off x="1524000" y="879894"/>
          <a:ext cx="6990272" cy="4581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2292" y="17252"/>
            <a:ext cx="4572032" cy="6474180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dirty="0" smtClean="0">
                <a:solidFill>
                  <a:schemeClr val="accent1"/>
                </a:solidFill>
              </a:rPr>
              <a:t>Projet « SPORTS-AMBITIONS 2016-2020 »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graphicFrame>
        <p:nvGraphicFramePr>
          <p:cNvPr id="8" name="Diagramme 7"/>
          <p:cNvGraphicFramePr/>
          <p:nvPr/>
        </p:nvGraphicFramePr>
        <p:xfrm>
          <a:off x="3605841" y="2777704"/>
          <a:ext cx="4825041" cy="350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3597215" y="1095555"/>
            <a:ext cx="52793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i="1" dirty="0" smtClean="0">
                <a:solidFill>
                  <a:srgbClr val="FF0000"/>
                </a:solidFill>
              </a:rPr>
              <a:t>« DEVENEZ ACTEURS DE VOTRE ASSOCIATION »</a:t>
            </a:r>
          </a:p>
          <a:p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2838" y="4296205"/>
            <a:ext cx="1967516" cy="2786082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POUR VOTRE PARTICIPAT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Image 6"/>
          <p:cNvPicPr/>
          <p:nvPr/>
        </p:nvPicPr>
        <p:blipFill>
          <a:blip r:embed="rId3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tretch>
            <a:fillRect/>
          </a:stretch>
        </p:blipFill>
        <p:spPr>
          <a:xfrm>
            <a:off x="5849257" y="242596"/>
            <a:ext cx="2889301" cy="5916664"/>
          </a:xfrm>
          <a:prstGeom prst="rect">
            <a:avLst/>
          </a:prstGeom>
        </p:spPr>
      </p:pic>
      <p:pic>
        <p:nvPicPr>
          <p:cNvPr id="8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="" xmlns:wpc="http://schemas.microsoft.com/office/word/2010/wordprocessingCanvas" xmlns:mc="http://schemas.openxmlformats.org/markup-compatibility/2006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301925" y="820566"/>
            <a:ext cx="5000628" cy="3857652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857620" y="3508516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 smtClean="0">
                <a:solidFill>
                  <a:schemeClr val="tx2"/>
                </a:solidFill>
              </a:rPr>
              <a:t>+</a:t>
            </a:r>
            <a:endParaRPr lang="fr-FR" sz="96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06724" y="146289"/>
            <a:ext cx="6419379" cy="558059"/>
          </a:xfrm>
        </p:spPr>
        <p:txBody>
          <a:bodyPr/>
          <a:lstStyle/>
          <a:p>
            <a:pPr>
              <a:defRPr/>
            </a:pPr>
            <a:r>
              <a:rPr lang="fr-FR" dirty="0">
                <a:ea typeface="+mj-ea"/>
              </a:rPr>
              <a:t>Sommaire</a:t>
            </a:r>
          </a:p>
        </p:txBody>
      </p:sp>
      <p:sp>
        <p:nvSpPr>
          <p:cNvPr id="12294" name="Espace réservé du numéro de diapositive 3"/>
          <p:cNvSpPr>
            <a:spLocks noGrp="1"/>
          </p:cNvSpPr>
          <p:nvPr>
            <p:ph type="sldNum" sz="quarter" idx="11"/>
          </p:nvPr>
        </p:nvSpPr>
        <p:spPr bwMode="auto">
          <a:xfrm>
            <a:off x="7451725" y="6454775"/>
            <a:ext cx="482600" cy="3016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93EF8DC6-3EE5-4DCF-9F2B-0E67863D737B}" type="slidenum">
              <a:rPr lang="fr-FR" sz="1000">
                <a:solidFill>
                  <a:schemeClr val="bg1"/>
                </a:solidFill>
              </a:rPr>
              <a:pPr eaLnBrk="1" hangingPunct="1"/>
              <a:t>41</a:t>
            </a:fld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C6A5F91B-DC2D-4C59-9809-8C442F2164FE}" type="datetime1">
              <a:rPr lang="fr-FR" sz="1000" smtClean="0">
                <a:solidFill>
                  <a:schemeClr val="bg1"/>
                </a:solidFill>
              </a:rPr>
              <a:pPr eaLnBrk="1" hangingPunct="1"/>
              <a:t>24/11/2016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3217060048"/>
              </p:ext>
            </p:extLst>
          </p:nvPr>
        </p:nvGraphicFramePr>
        <p:xfrm>
          <a:off x="634482" y="1251914"/>
          <a:ext cx="8074780" cy="4515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523954" y="5000563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611169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42928" y="260648"/>
            <a:ext cx="6135510" cy="785794"/>
          </a:xfrm>
        </p:spPr>
        <p:txBody>
          <a:bodyPr>
            <a:normAutofit fontScale="90000"/>
          </a:bodyPr>
          <a:lstStyle/>
          <a:p>
            <a:r>
              <a:rPr lang="fr-FR" dirty="0" smtClean="0">
                <a:solidFill>
                  <a:schemeClr val="accent1"/>
                </a:solidFill>
              </a:rPr>
              <a:t>Analyse de l’existant : les adhérents</a:t>
            </a:r>
            <a:br>
              <a:rPr lang="fr-FR" dirty="0" smtClean="0">
                <a:solidFill>
                  <a:schemeClr val="accent1"/>
                </a:solidFill>
              </a:rPr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76484" y="-455878"/>
            <a:ext cx="1967516" cy="2786082"/>
          </a:xfrm>
          <a:prstGeom prst="rect">
            <a:avLst/>
          </a:prstGeom>
          <a:noFill/>
        </p:spPr>
      </p:pic>
      <p:graphicFrame>
        <p:nvGraphicFramePr>
          <p:cNvPr id="43010" name="Object 2"/>
          <p:cNvGraphicFramePr>
            <a:graphicFrameLocks noChangeAspect="1"/>
          </p:cNvGraphicFramePr>
          <p:nvPr/>
        </p:nvGraphicFramePr>
        <p:xfrm>
          <a:off x="521629" y="1350034"/>
          <a:ext cx="7010400" cy="2628900"/>
        </p:xfrm>
        <a:graphic>
          <a:graphicData uri="http://schemas.openxmlformats.org/presentationml/2006/ole">
            <p:oleObj spid="_x0000_s43010" name="Feuille de calcul" r:id="rId4" imgW="11231907" imgH="4214064" progId="Excel.Sheet.12">
              <p:embed/>
            </p:oleObj>
          </a:graphicData>
        </a:graphic>
      </p:graphicFrame>
      <p:sp>
        <p:nvSpPr>
          <p:cNvPr id="9" name="Espace réservé du texte 8"/>
          <p:cNvSpPr txBox="1">
            <a:spLocks noGrp="1"/>
          </p:cNvSpPr>
          <p:nvPr>
            <p:ph type="body" sz="quarter" idx="10"/>
          </p:nvPr>
        </p:nvSpPr>
        <p:spPr>
          <a:xfrm>
            <a:off x="719064" y="4267907"/>
            <a:ext cx="8424936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fr-FR" dirty="0" smtClean="0">
                <a:solidFill>
                  <a:schemeClr val="tx2"/>
                </a:solidFill>
              </a:rPr>
              <a:t>Le </a:t>
            </a:r>
            <a:r>
              <a:rPr lang="fr-FR" dirty="0">
                <a:solidFill>
                  <a:schemeClr val="tx2"/>
                </a:solidFill>
              </a:rPr>
              <a:t>nombre d'adhérents de l'activité "Trampoline - Gymnastique Acrobatique" est en chute libre. </a:t>
            </a:r>
            <a:endParaRPr lang="fr-FR" dirty="0" smtClean="0">
              <a:solidFill>
                <a:schemeClr val="tx2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fr-FR" dirty="0" smtClean="0">
                <a:solidFill>
                  <a:schemeClr val="tx2"/>
                </a:solidFill>
              </a:rPr>
              <a:t> L'association </a:t>
            </a:r>
            <a:r>
              <a:rPr lang="fr-FR" dirty="0">
                <a:solidFill>
                  <a:schemeClr val="tx2"/>
                </a:solidFill>
              </a:rPr>
              <a:t>n'a pas les moyens de relancer en interne cette activité compte tenu du manque d'encadrant</a:t>
            </a:r>
            <a:r>
              <a:rPr lang="fr-FR" dirty="0" smtClean="0">
                <a:solidFill>
                  <a:schemeClr val="tx2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r>
              <a:rPr lang="fr-FR" dirty="0" smtClean="0">
                <a:solidFill>
                  <a:schemeClr val="tx2"/>
                </a:solidFill>
              </a:rPr>
              <a:t>Il </a:t>
            </a:r>
            <a:r>
              <a:rPr lang="fr-FR" dirty="0">
                <a:solidFill>
                  <a:schemeClr val="tx2"/>
                </a:solidFill>
              </a:rPr>
              <a:t>est important de relancer les adhésions au niveau de la Gymnastique Masculine.</a:t>
            </a:r>
          </a:p>
          <a:p>
            <a:pPr lvl="0"/>
            <a:endParaRPr lang="fr-FR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43" name="Object 3"/>
          <p:cNvGraphicFramePr>
            <a:graphicFrameLocks noChangeAspect="1"/>
          </p:cNvGraphicFramePr>
          <p:nvPr/>
        </p:nvGraphicFramePr>
        <p:xfrm>
          <a:off x="464478" y="1163488"/>
          <a:ext cx="8136057" cy="3714750"/>
        </p:xfrm>
        <a:graphic>
          <a:graphicData uri="http://schemas.openxmlformats.org/presentationml/2006/ole">
            <p:oleObj spid="_x0000_s61443" name="Feuille de calcul" r:id="rId3" imgW="7353366" imgH="4053714" progId="Excel.Sheet.12">
              <p:embed/>
            </p:oleObj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42927" y="260648"/>
            <a:ext cx="6946393" cy="785794"/>
          </a:xfrm>
        </p:spPr>
        <p:txBody>
          <a:bodyPr>
            <a:normAutofit fontScale="90000"/>
          </a:bodyPr>
          <a:lstStyle/>
          <a:p>
            <a:r>
              <a:rPr lang="fr-FR" dirty="0" smtClean="0">
                <a:solidFill>
                  <a:schemeClr val="accent1"/>
                </a:solidFill>
              </a:rPr>
              <a:t>Analyse de l’existant : les adhérents Badminton</a:t>
            </a:r>
            <a:br>
              <a:rPr lang="fr-FR" dirty="0" smtClean="0">
                <a:solidFill>
                  <a:schemeClr val="accent1"/>
                </a:solidFill>
              </a:rPr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4294967295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76484" y="-455878"/>
            <a:ext cx="1967516" cy="2786082"/>
          </a:xfrm>
          <a:prstGeom prst="rect">
            <a:avLst/>
          </a:prstGeom>
          <a:noFill/>
        </p:spPr>
      </p:pic>
      <p:sp>
        <p:nvSpPr>
          <p:cNvPr id="10" name="Espace réservé du texte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534838" y="5003321"/>
            <a:ext cx="839488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fr-FR" sz="1800" dirty="0" smtClean="0">
                <a:solidFill>
                  <a:schemeClr val="tx2"/>
                </a:solidFill>
              </a:rPr>
              <a:t>Le </a:t>
            </a:r>
            <a:r>
              <a:rPr lang="fr-FR" sz="1800" dirty="0">
                <a:solidFill>
                  <a:schemeClr val="tx2"/>
                </a:solidFill>
              </a:rPr>
              <a:t>nombre de "Jeunes" (26%) </a:t>
            </a:r>
            <a:r>
              <a:rPr lang="fr-FR" sz="1800" dirty="0" smtClean="0">
                <a:solidFill>
                  <a:schemeClr val="tx2"/>
                </a:solidFill>
              </a:rPr>
              <a:t>n’est </a:t>
            </a:r>
            <a:r>
              <a:rPr lang="fr-FR" sz="1800" dirty="0">
                <a:solidFill>
                  <a:schemeClr val="tx2"/>
                </a:solidFill>
              </a:rPr>
              <a:t>pas suffisant pour relancer la compétition dans les années à venir.  </a:t>
            </a:r>
            <a:endParaRPr lang="fr-FR" sz="1800" dirty="0" smtClean="0">
              <a:solidFill>
                <a:schemeClr val="tx2"/>
              </a:solidFill>
            </a:endParaRPr>
          </a:p>
          <a:p>
            <a:pPr lvl="0">
              <a:buFont typeface="Wingdings" pitchFamily="2" charset="2"/>
              <a:buChar char="Ø"/>
            </a:pPr>
            <a:r>
              <a:rPr lang="fr-FR" sz="1800" dirty="0" smtClean="0">
                <a:solidFill>
                  <a:schemeClr val="tx2"/>
                </a:solidFill>
              </a:rPr>
              <a:t>Il </a:t>
            </a:r>
            <a:r>
              <a:rPr lang="fr-FR" sz="1800" dirty="0">
                <a:solidFill>
                  <a:schemeClr val="tx2"/>
                </a:solidFill>
              </a:rPr>
              <a:t>faut poursuivre les efforts pour faire croitre la catégorie "adultes </a:t>
            </a:r>
            <a:r>
              <a:rPr lang="fr-FR" sz="1800" dirty="0" smtClean="0">
                <a:solidFill>
                  <a:schemeClr val="tx2"/>
                </a:solidFill>
              </a:rPr>
              <a:t>compétitions » </a:t>
            </a:r>
          </a:p>
          <a:p>
            <a:pPr lvl="0">
              <a:buFont typeface="Wingdings" pitchFamily="2" charset="2"/>
              <a:buChar char="Ø"/>
            </a:pPr>
            <a:r>
              <a:rPr lang="fr-FR" sz="1800" dirty="0" smtClean="0">
                <a:solidFill>
                  <a:schemeClr val="tx2"/>
                </a:solidFill>
              </a:rPr>
              <a:t>Moyenne d’âge élevée en comparaison avec celle des autres clubs</a:t>
            </a:r>
            <a:endParaRPr lang="fr-FR" sz="1800" dirty="0">
              <a:solidFill>
                <a:schemeClr val="tx2"/>
              </a:solidFill>
            </a:endParaRPr>
          </a:p>
          <a:p>
            <a:pPr lvl="0"/>
            <a:endParaRPr lang="fr-FR" dirty="0">
              <a:solidFill>
                <a:schemeClr val="tx2"/>
              </a:solidFill>
            </a:endParaRPr>
          </a:p>
          <a:p>
            <a:pPr lvl="0"/>
            <a:endParaRPr lang="fr-FR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42928" y="260648"/>
            <a:ext cx="6592710" cy="785794"/>
          </a:xfrm>
        </p:spPr>
        <p:txBody>
          <a:bodyPr>
            <a:normAutofit/>
          </a:bodyPr>
          <a:lstStyle/>
          <a:p>
            <a:r>
              <a:rPr lang="fr-FR" sz="2000" dirty="0" smtClean="0">
                <a:solidFill>
                  <a:schemeClr val="accent1"/>
                </a:solidFill>
              </a:rPr>
              <a:t>Analyse de l’existant sur le plan financier</a:t>
            </a:r>
            <a:endParaRPr lang="fr-FR" sz="18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664234" y="4647469"/>
            <a:ext cx="8074324" cy="2210531"/>
          </a:xfrm>
        </p:spPr>
        <p:txBody>
          <a:bodyPr/>
          <a:lstStyle/>
          <a:p>
            <a:pPr lvl="0">
              <a:buFont typeface="Wingdings" pitchFamily="2" charset="2"/>
              <a:buChar char="Ø"/>
            </a:pPr>
            <a:r>
              <a:rPr lang="fr-FR" dirty="0" smtClean="0"/>
              <a:t> </a:t>
            </a:r>
            <a:r>
              <a:rPr lang="fr-FR" dirty="0" smtClean="0">
                <a:solidFill>
                  <a:schemeClr val="tx2"/>
                </a:solidFill>
              </a:rPr>
              <a:t>Le % des cotisations dans les recettes (64,18% en 2015-2016) est élevé depuis plusieurs années. (moyenne constatée autres clubs : 55%) </a:t>
            </a:r>
          </a:p>
          <a:p>
            <a:pPr lvl="0">
              <a:buFont typeface="Wingdings" pitchFamily="2" charset="2"/>
              <a:buChar char="Ø"/>
            </a:pPr>
            <a:r>
              <a:rPr lang="fr-FR" dirty="0" smtClean="0">
                <a:solidFill>
                  <a:schemeClr val="tx2"/>
                </a:solidFill>
              </a:rPr>
              <a:t> Recettes diverses faibles liées au peu de manifestations organisées ou des manifestations qui n'ont pas donné lieu à des recettes importantes.</a:t>
            </a:r>
          </a:p>
          <a:p>
            <a:pPr>
              <a:buFont typeface="Wingdings" pitchFamily="2" charset="2"/>
              <a:buChar char="Ø"/>
            </a:pPr>
            <a:r>
              <a:rPr lang="fr-FR" dirty="0" smtClean="0">
                <a:solidFill>
                  <a:schemeClr val="tx2"/>
                </a:solidFill>
              </a:rPr>
              <a:t> Autres points à noter, la quasi absence de dépenses de formation et de dépenses d'investissements matériels.</a:t>
            </a:r>
          </a:p>
          <a:p>
            <a:endParaRPr lang="fr-FR" dirty="0"/>
          </a:p>
        </p:txBody>
      </p:sp>
      <p:pic>
        <p:nvPicPr>
          <p:cNvPr id="12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graphicFrame>
        <p:nvGraphicFramePr>
          <p:cNvPr id="44034" name="Object 2"/>
          <p:cNvGraphicFramePr>
            <a:graphicFrameLocks noChangeAspect="1"/>
          </p:cNvGraphicFramePr>
          <p:nvPr/>
        </p:nvGraphicFramePr>
        <p:xfrm>
          <a:off x="486284" y="1423357"/>
          <a:ext cx="7591584" cy="3197315"/>
        </p:xfrm>
        <a:graphic>
          <a:graphicData uri="http://schemas.openxmlformats.org/presentationml/2006/ole">
            <p:oleObj spid="_x0000_s44034" name="Feuille de calcul" r:id="rId4" imgW="6088367" imgH="2575356" progId="Excel.Sheet.12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graphicFrame>
        <p:nvGraphicFramePr>
          <p:cNvPr id="62466" name="Object 2"/>
          <p:cNvGraphicFramePr>
            <a:graphicFrameLocks noChangeAspect="1"/>
          </p:cNvGraphicFramePr>
          <p:nvPr/>
        </p:nvGraphicFramePr>
        <p:xfrm>
          <a:off x="232914" y="1000664"/>
          <a:ext cx="7438214" cy="5437030"/>
        </p:xfrm>
        <a:graphic>
          <a:graphicData uri="http://schemas.openxmlformats.org/presentationml/2006/ole">
            <p:oleObj spid="_x0000_s62466" name="Diapositive" r:id="rId4" imgW="4154420" imgH="3116475" progId="PowerPoint.Slide.12">
              <p:embed/>
            </p:oleObj>
          </a:graphicData>
        </a:graphic>
      </p:graphicFrame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2400" dirty="0" smtClean="0">
                <a:solidFill>
                  <a:schemeClr val="accent1"/>
                </a:solidFill>
              </a:rPr>
              <a:t>Synthèse du constat au 1</a:t>
            </a:r>
            <a:r>
              <a:rPr lang="fr-FR" sz="2400" baseline="30000" dirty="0" smtClean="0">
                <a:solidFill>
                  <a:schemeClr val="accent1"/>
                </a:solidFill>
              </a:rPr>
              <a:t>er</a:t>
            </a:r>
            <a:r>
              <a:rPr lang="fr-FR" sz="2400" dirty="0" smtClean="0">
                <a:solidFill>
                  <a:schemeClr val="accent1"/>
                </a:solidFill>
              </a:rPr>
              <a:t> trimestre 2016</a:t>
            </a:r>
            <a:r>
              <a:rPr lang="fr-FR" dirty="0" smtClean="0">
                <a:solidFill>
                  <a:schemeClr val="accent1"/>
                </a:solidFill>
              </a:rPr>
              <a:t/>
            </a:r>
            <a:br>
              <a:rPr lang="fr-FR" dirty="0" smtClean="0">
                <a:solidFill>
                  <a:schemeClr val="accent1"/>
                </a:solidFill>
              </a:rPr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lan d’ACT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05F43D-1382-43E8-AB5A-E1A1731B44EA}" type="datetime1">
              <a:rPr lang="fr-FR" smtClean="0"/>
              <a:pPr/>
              <a:t>24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/>
              <a:t>Assemblée Générale Ordinaire - 24 11 2016</a:t>
            </a:r>
            <a:endParaRPr lang="fr-FR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graphicFrame>
        <p:nvGraphicFramePr>
          <p:cNvPr id="8" name="Diagramme 7"/>
          <p:cNvGraphicFramePr/>
          <p:nvPr/>
        </p:nvGraphicFramePr>
        <p:xfrm>
          <a:off x="618226" y="1396999"/>
          <a:ext cx="7369834" cy="4865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YUFkyrnkmabmPEvVCo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ZufsihhkypKvYeR6v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4qxR.hlUmMrttMgIm3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E8b7NzEaP_71XKqK_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L6tTUYUKK7KuID6E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ouqht3EmE7jitNuFp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estjr_EaC.i9ywwGd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7Dj.XxZU6npJypcbOR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rO8dNv0yw3ro5g2_5BA"/>
</p:tagLst>
</file>

<file path=ppt/theme/theme1.xml><?xml version="1.0" encoding="utf-8"?>
<a:theme xmlns:a="http://schemas.openxmlformats.org/drawingml/2006/main" name="Modèle Présentation Klés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Thème Office">
  <a:themeElements>
    <a:clrScheme name="7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Thème Offic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èle Présentation Klésia.potx</Template>
  <TotalTime>17355</TotalTime>
  <Words>1869</Words>
  <Application>Microsoft Macintosh PowerPoint</Application>
  <PresentationFormat>Affichage à l'écran (4:3)</PresentationFormat>
  <Paragraphs>463</Paragraphs>
  <Slides>4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41</vt:i4>
      </vt:variant>
    </vt:vector>
  </HeadingPairs>
  <TitlesOfParts>
    <vt:vector size="46" baseType="lpstr">
      <vt:lpstr>Modèle Présentation Klésia</vt:lpstr>
      <vt:lpstr>7_Thème Office</vt:lpstr>
      <vt:lpstr>think-cell Slide</vt:lpstr>
      <vt:lpstr>Feuille de calcul</vt:lpstr>
      <vt:lpstr>Diapositive</vt:lpstr>
      <vt:lpstr>Assemblée  Générale Ordinaire </vt:lpstr>
      <vt:lpstr>Sommaire</vt:lpstr>
      <vt:lpstr>Diapositive 3</vt:lpstr>
      <vt:lpstr>Projet « SPORTS-AMBITIONS 2016-2020 »</vt:lpstr>
      <vt:lpstr>Analyse de l’existant : les adhérents </vt:lpstr>
      <vt:lpstr>Analyse de l’existant : les adhérents Badminton </vt:lpstr>
      <vt:lpstr>Analyse de l’existant sur le plan financier</vt:lpstr>
      <vt:lpstr>Synthèse du constat au 1er trimestre 2016 </vt:lpstr>
      <vt:lpstr>Le Plan d’ACTION</vt:lpstr>
      <vt:lpstr>Le Plan d’ACTION Fonctionnement Général</vt:lpstr>
      <vt:lpstr>Le Plan d’ACTION BADMINTON</vt:lpstr>
      <vt:lpstr>Le Plan d’ACTION Gymnastique Masculine</vt:lpstr>
      <vt:lpstr>Bilan 2015 - 2016</vt:lpstr>
      <vt:lpstr>Bilan 2015 - 2016</vt:lpstr>
      <vt:lpstr>RESULTATS 2015 – 2016 de gymnastique  masculine</vt:lpstr>
      <vt:lpstr>RESULTATS 2015 – 2016 de BADMINTON</vt:lpstr>
      <vt:lpstr>SYNTHESE 2015 - 2016</vt:lpstr>
      <vt:lpstr>Sommaire</vt:lpstr>
      <vt:lpstr>LES DEPENSES 2015 -2016            Budget : 65 755 €  REALISEES : 67 953,80 €</vt:lpstr>
      <vt:lpstr>LES RECETTES 2015 – 2016  Budget : 65 755 €  REALISEES : 68 656 €</vt:lpstr>
      <vt:lpstr>Rapport financier 2015 - 2016</vt:lpstr>
      <vt:lpstr>Sommaire</vt:lpstr>
      <vt:lpstr>Le Conseil d’Administration est composé de 12 membres élus pour 3 ans, renouvelables par 1/3 tous les ans.</vt:lpstr>
      <vt:lpstr>Le conseil d’Administration actuel</vt:lpstr>
      <vt:lpstr>CANDIDATS pour la PERIODE  2016 - 2019</vt:lpstr>
      <vt:lpstr>Sommaire</vt:lpstr>
      <vt:lpstr>Les objecTIFS 2016 – 2017 : Poursuivre le développement lancé en 2016 </vt:lpstr>
      <vt:lpstr>Diapositive 28</vt:lpstr>
      <vt:lpstr>Diapositive 29</vt:lpstr>
      <vt:lpstr>Diapositive 30</vt:lpstr>
      <vt:lpstr>Les AUTRES RENDEZ VOUS </vt:lpstr>
      <vt:lpstr>Sommaire</vt:lpstr>
      <vt:lpstr>Diapositive 33</vt:lpstr>
      <vt:lpstr>Le BUDGET 2016-2017</vt:lpstr>
      <vt:lpstr>BUDGET 2016 - 2017</vt:lpstr>
      <vt:lpstr>Sommaire</vt:lpstr>
      <vt:lpstr>Vous avez la parole </vt:lpstr>
      <vt:lpstr>Un grand merci aux </vt:lpstr>
      <vt:lpstr>Un grand merci aux </vt:lpstr>
      <vt:lpstr>MERCI POUR VOTRE PARTICIPATION</vt:lpstr>
      <vt:lpstr>Sommair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nbriand</dc:creator>
  <cp:lastModifiedBy>philippe cerisier</cp:lastModifiedBy>
  <cp:revision>449</cp:revision>
  <cp:lastPrinted>2016-11-18T10:28:00Z</cp:lastPrinted>
  <dcterms:created xsi:type="dcterms:W3CDTF">2012-06-28T08:43:56Z</dcterms:created>
  <dcterms:modified xsi:type="dcterms:W3CDTF">2016-11-24T22:01:31Z</dcterms:modified>
</cp:coreProperties>
</file>